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4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6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theme/theme7.xml" ContentType="application/vnd.openxmlformats-officedocument.theme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theme/theme8.xml" ContentType="application/vnd.openxmlformats-officedocument.theme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theme/theme9.xml" ContentType="application/vnd.openxmlformats-officedocument.theme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theme/theme10.xml" ContentType="application/vnd.openxmlformats-officedocument.theme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theme/theme11.xml" ContentType="application/vnd.openxmlformats-officedocument.theme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theme/theme12.xml" ContentType="application/vnd.openxmlformats-officedocument.theme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heme/theme13.xml" ContentType="application/vnd.openxmlformats-officedocument.theme+xml"/>
  <Override PartName="/ppt/theme/theme14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2" r:id="rId1"/>
    <p:sldMasterId id="2147483783" r:id="rId2"/>
    <p:sldMasterId id="2147483795" r:id="rId3"/>
    <p:sldMasterId id="2147483755" r:id="rId4"/>
    <p:sldMasterId id="2147483763" r:id="rId5"/>
    <p:sldMasterId id="2147483860" r:id="rId6"/>
    <p:sldMasterId id="2147484016" r:id="rId7"/>
    <p:sldMasterId id="2147484250" r:id="rId8"/>
    <p:sldMasterId id="2147485117" r:id="rId9"/>
    <p:sldMasterId id="2147485199" r:id="rId10"/>
    <p:sldMasterId id="2147485213" r:id="rId11"/>
    <p:sldMasterId id="2147485311" r:id="rId12"/>
  </p:sldMasterIdLst>
  <p:notesMasterIdLst>
    <p:notesMasterId r:id="rId24"/>
  </p:notesMasterIdLst>
  <p:handoutMasterIdLst>
    <p:handoutMasterId r:id="rId25"/>
  </p:handoutMasterIdLst>
  <p:sldIdLst>
    <p:sldId id="742" r:id="rId13"/>
    <p:sldId id="443" r:id="rId14"/>
    <p:sldId id="2703" r:id="rId15"/>
    <p:sldId id="2704" r:id="rId16"/>
    <p:sldId id="2705" r:id="rId17"/>
    <p:sldId id="2706" r:id="rId18"/>
    <p:sldId id="2707" r:id="rId19"/>
    <p:sldId id="2708" r:id="rId20"/>
    <p:sldId id="2709" r:id="rId21"/>
    <p:sldId id="2710" r:id="rId22"/>
    <p:sldId id="277" r:id="rId23"/>
  </p:sldIdLst>
  <p:sldSz cx="12192000" cy="6858000"/>
  <p:notesSz cx="7010400" cy="92964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lyaziyah Sultan Ahmed S. Aldhaheri" initials="ASASA" lastIdx="16" clrIdx="0"/>
  <p:cmAuthor id="2" name="Zainab Ali Saeed Salem Al Suwaider" initials="ZASSAS" lastIdx="32" clrIdx="1"/>
  <p:cmAuthor id="3" name="Zainab AlSuwaider" initials="ZA" lastIdx="27" clrIdx="2">
    <p:extLst>
      <p:ext uri="{19B8F6BF-5375-455C-9EA6-DF929625EA0E}">
        <p15:presenceInfo xmlns:p15="http://schemas.microsoft.com/office/powerpoint/2012/main" userId="08e57debb2aa8157" providerId="Windows Live"/>
      </p:ext>
    </p:extLst>
  </p:cmAuthor>
  <p:cmAuthor id="4" name="Noura Sultan" initials="NS" lastIdx="1" clrIdx="3">
    <p:extLst>
      <p:ext uri="{19B8F6BF-5375-455C-9EA6-DF929625EA0E}">
        <p15:presenceInfo xmlns:p15="http://schemas.microsoft.com/office/powerpoint/2012/main" userId="5f6f84824a66bdea" providerId="Windows Live"/>
      </p:ext>
    </p:extLst>
  </p:cmAuthor>
  <p:cmAuthor id="5" name="Fatima Hashem Musaed" initials="FHM" lastIdx="7" clrIdx="4">
    <p:extLst>
      <p:ext uri="{19B8F6BF-5375-455C-9EA6-DF929625EA0E}">
        <p15:presenceInfo xmlns:p15="http://schemas.microsoft.com/office/powerpoint/2012/main" userId="S-1-5-21-1390067357-2052111302-682003330-26742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FFCC"/>
    <a:srgbClr val="B05051"/>
    <a:srgbClr val="DE4A00"/>
    <a:srgbClr val="FF9966"/>
    <a:srgbClr val="666699"/>
    <a:srgbClr val="993300"/>
    <a:srgbClr val="F2F2F2"/>
    <a:srgbClr val="D4E8D4"/>
    <a:srgbClr val="949494"/>
    <a:srgbClr val="F3F2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C4DF488-BCFF-4DEC-94CA-2F367C8C9C20}" v="70" dt="2024-03-07T18:42:43.35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643" autoAdjust="0"/>
    <p:restoredTop sz="94464" autoAdjust="0"/>
  </p:normalViewPr>
  <p:slideViewPr>
    <p:cSldViewPr>
      <p:cViewPr varScale="1">
        <p:scale>
          <a:sx n="96" d="100"/>
          <a:sy n="96" d="100"/>
        </p:scale>
        <p:origin x="72" y="34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6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2740"/>
    </p:cViewPr>
  </p:sorterViewPr>
  <p:notesViewPr>
    <p:cSldViewPr>
      <p:cViewPr varScale="1">
        <p:scale>
          <a:sx n="50" d="100"/>
          <a:sy n="50" d="100"/>
        </p:scale>
        <p:origin x="2684" y="2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9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5.xml"/><Relationship Id="rId25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7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svg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2" Type="http://schemas.openxmlformats.org/officeDocument/2006/relationships/image" Target="../media/image32.svg"/><Relationship Id="rId1" Type="http://schemas.openxmlformats.org/officeDocument/2006/relationships/image" Target="../media/image31.png"/><Relationship Id="rId6" Type="http://schemas.openxmlformats.org/officeDocument/2006/relationships/image" Target="../media/image36.svg"/><Relationship Id="rId5" Type="http://schemas.openxmlformats.org/officeDocument/2006/relationships/image" Target="../media/image35.png"/><Relationship Id="rId10" Type="http://schemas.openxmlformats.org/officeDocument/2006/relationships/image" Target="../media/image40.svg"/><Relationship Id="rId4" Type="http://schemas.openxmlformats.org/officeDocument/2006/relationships/image" Target="../media/image34.svg"/><Relationship Id="rId9" Type="http://schemas.openxmlformats.org/officeDocument/2006/relationships/image" Target="../media/image39.pn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svg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2" Type="http://schemas.openxmlformats.org/officeDocument/2006/relationships/image" Target="../media/image32.svg"/><Relationship Id="rId1" Type="http://schemas.openxmlformats.org/officeDocument/2006/relationships/image" Target="../media/image31.png"/><Relationship Id="rId6" Type="http://schemas.openxmlformats.org/officeDocument/2006/relationships/image" Target="../media/image36.svg"/><Relationship Id="rId5" Type="http://schemas.openxmlformats.org/officeDocument/2006/relationships/image" Target="../media/image35.png"/><Relationship Id="rId10" Type="http://schemas.openxmlformats.org/officeDocument/2006/relationships/image" Target="../media/image40.svg"/><Relationship Id="rId4" Type="http://schemas.openxmlformats.org/officeDocument/2006/relationships/image" Target="../media/image34.svg"/><Relationship Id="rId9" Type="http://schemas.openxmlformats.org/officeDocument/2006/relationships/image" Target="../media/image39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4">
  <dgm:title val=""/>
  <dgm:desc val=""/>
  <dgm:catLst>
    <dgm:cat type="accent2" pri="11400"/>
  </dgm:catLst>
  <dgm:styleLbl name="node0">
    <dgm:fillClrLst meth="cycle">
      <a:schemeClr val="accent2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2">
        <a:shade val="50000"/>
      </a:schemeClr>
      <a:schemeClr val="accent2">
        <a:tint val="45000"/>
      </a:schemeClr>
    </dgm:fillClrLst>
    <dgm:linClrLst meth="cycle">
      <a:schemeClr val="accent2">
        <a:shade val="50000"/>
      </a:schemeClr>
      <a:schemeClr val="accent2">
        <a:tint val="45000"/>
      </a:schemeClr>
    </dgm:linClrLst>
    <dgm:effectClrLst/>
    <dgm:txLinClrLst/>
    <dgm:txFillClrLst/>
    <dgm:txEffectClrLst/>
  </dgm:styleLbl>
  <dgm:styleLbl name="ln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2">
        <a:shade val="80000"/>
        <a:alpha val="50000"/>
      </a:schemeClr>
      <a:schemeClr val="accent2">
        <a:tint val="45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55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4">
  <dgm:title val=""/>
  <dgm:desc val=""/>
  <dgm:catLst>
    <dgm:cat type="accent2" pri="11400"/>
  </dgm:catLst>
  <dgm:styleLbl name="node0">
    <dgm:fillClrLst meth="cycle">
      <a:schemeClr val="accent2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2">
        <a:shade val="50000"/>
      </a:schemeClr>
      <a:schemeClr val="accent2">
        <a:tint val="45000"/>
      </a:schemeClr>
    </dgm:fillClrLst>
    <dgm:linClrLst meth="cycle">
      <a:schemeClr val="accent2">
        <a:shade val="50000"/>
      </a:schemeClr>
      <a:schemeClr val="accent2">
        <a:tint val="45000"/>
      </a:schemeClr>
    </dgm:linClrLst>
    <dgm:effectClrLst/>
    <dgm:txLinClrLst/>
    <dgm:txFillClrLst/>
    <dgm:txEffectClrLst/>
  </dgm:styleLbl>
  <dgm:styleLbl name="ln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2">
        <a:shade val="80000"/>
        <a:alpha val="50000"/>
      </a:schemeClr>
      <a:schemeClr val="accent2">
        <a:tint val="45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55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1C57BF6-2157-4734-9F51-37D130592633}" type="doc">
      <dgm:prSet loTypeId="urn:microsoft.com/office/officeart/2018/5/layout/IconCircleLabel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EB2B4D0-C844-45E8-AA0C-F4264B07232C}">
      <dgm:prSet/>
      <dgm:spPr/>
      <dgm:t>
        <a:bodyPr/>
        <a:lstStyle/>
        <a:p>
          <a:pPr>
            <a:lnSpc>
              <a:spcPct val="100000"/>
            </a:lnSpc>
            <a:defRPr cap="all"/>
          </a:pPr>
          <a:r>
            <a:rPr lang="en-US"/>
            <a:t>CAA course file (Annex 16, 2019 CAA Standard)</a:t>
          </a:r>
        </a:p>
      </dgm:t>
    </dgm:pt>
    <dgm:pt modelId="{C912F6FB-B26F-4553-B86F-031473E6F064}" type="parTrans" cxnId="{322D0326-697A-4BDB-AB7B-7DF0E8937CA8}">
      <dgm:prSet/>
      <dgm:spPr/>
      <dgm:t>
        <a:bodyPr/>
        <a:lstStyle/>
        <a:p>
          <a:endParaRPr lang="en-US"/>
        </a:p>
      </dgm:t>
    </dgm:pt>
    <dgm:pt modelId="{99DDA043-52E9-456F-B478-00D031832A89}" type="sibTrans" cxnId="{322D0326-697A-4BDB-AB7B-7DF0E8937CA8}">
      <dgm:prSet/>
      <dgm:spPr/>
      <dgm:t>
        <a:bodyPr/>
        <a:lstStyle/>
        <a:p>
          <a:endParaRPr lang="en-US"/>
        </a:p>
      </dgm:t>
    </dgm:pt>
    <dgm:pt modelId="{E2B601CD-FB3A-426C-B8F3-8D62997A201B}">
      <dgm:prSet/>
      <dgm:spPr/>
      <dgm:t>
        <a:bodyPr/>
        <a:lstStyle/>
        <a:p>
          <a:pPr>
            <a:lnSpc>
              <a:spcPct val="100000"/>
            </a:lnSpc>
            <a:defRPr cap="all"/>
          </a:pPr>
          <a:r>
            <a:rPr lang="en-US"/>
            <a:t>e-Portfolio Directory Structure </a:t>
          </a:r>
        </a:p>
      </dgm:t>
    </dgm:pt>
    <dgm:pt modelId="{6977E50A-E192-4287-9AE4-FAF019D846C5}" type="parTrans" cxnId="{459DEEAB-08DD-4CF2-9DCF-9ED258646BF7}">
      <dgm:prSet/>
      <dgm:spPr/>
      <dgm:t>
        <a:bodyPr/>
        <a:lstStyle/>
        <a:p>
          <a:endParaRPr lang="en-US"/>
        </a:p>
      </dgm:t>
    </dgm:pt>
    <dgm:pt modelId="{7253AC12-AE2E-495C-A739-E845E32B4775}" type="sibTrans" cxnId="{459DEEAB-08DD-4CF2-9DCF-9ED258646BF7}">
      <dgm:prSet/>
      <dgm:spPr/>
      <dgm:t>
        <a:bodyPr/>
        <a:lstStyle/>
        <a:p>
          <a:endParaRPr lang="en-US"/>
        </a:p>
      </dgm:t>
    </dgm:pt>
    <dgm:pt modelId="{03A87241-6089-4AEC-8CE9-E5F41DEA69E4}">
      <dgm:prSet/>
      <dgm:spPr/>
      <dgm:t>
        <a:bodyPr/>
        <a:lstStyle/>
        <a:p>
          <a:pPr>
            <a:lnSpc>
              <a:spcPct val="100000"/>
            </a:lnSpc>
            <a:defRPr cap="all"/>
          </a:pPr>
          <a:r>
            <a:rPr lang="en-US" dirty="0"/>
            <a:t>Naming Convention </a:t>
          </a:r>
        </a:p>
      </dgm:t>
    </dgm:pt>
    <dgm:pt modelId="{4A91CCE5-0745-4DF7-AC8E-B67D49DFF7D3}" type="parTrans" cxnId="{801E36E2-BC52-40C6-8656-89A45A8520EB}">
      <dgm:prSet/>
      <dgm:spPr/>
      <dgm:t>
        <a:bodyPr/>
        <a:lstStyle/>
        <a:p>
          <a:endParaRPr lang="en-US"/>
        </a:p>
      </dgm:t>
    </dgm:pt>
    <dgm:pt modelId="{68A9C3ED-9133-409A-AAFE-9AE1825D36E6}" type="sibTrans" cxnId="{801E36E2-BC52-40C6-8656-89A45A8520EB}">
      <dgm:prSet/>
      <dgm:spPr/>
      <dgm:t>
        <a:bodyPr/>
        <a:lstStyle/>
        <a:p>
          <a:endParaRPr lang="en-US"/>
        </a:p>
      </dgm:t>
    </dgm:pt>
    <dgm:pt modelId="{BF1C2E17-B90E-45FA-BA60-258F21BE652C}">
      <dgm:prSet/>
      <dgm:spPr/>
      <dgm:t>
        <a:bodyPr/>
        <a:lstStyle/>
        <a:p>
          <a:pPr>
            <a:lnSpc>
              <a:spcPct val="100000"/>
            </a:lnSpc>
            <a:defRPr cap="all"/>
          </a:pPr>
          <a:r>
            <a:rPr lang="en-US"/>
            <a:t>Online Repository </a:t>
          </a:r>
        </a:p>
      </dgm:t>
    </dgm:pt>
    <dgm:pt modelId="{5A21E375-7C92-4720-8175-364AFD6AC805}" type="parTrans" cxnId="{D3F73541-69B4-4CB3-8615-5A96E0697EA8}">
      <dgm:prSet/>
      <dgm:spPr/>
      <dgm:t>
        <a:bodyPr/>
        <a:lstStyle/>
        <a:p>
          <a:endParaRPr lang="en-US"/>
        </a:p>
      </dgm:t>
    </dgm:pt>
    <dgm:pt modelId="{859E82F1-38C6-41DE-B2A5-0878FD3E01EC}" type="sibTrans" cxnId="{D3F73541-69B4-4CB3-8615-5A96E0697EA8}">
      <dgm:prSet/>
      <dgm:spPr/>
      <dgm:t>
        <a:bodyPr/>
        <a:lstStyle/>
        <a:p>
          <a:endParaRPr lang="en-US"/>
        </a:p>
      </dgm:t>
    </dgm:pt>
    <dgm:pt modelId="{E9E8D9B0-2334-4BE6-A14F-3522436612F2}">
      <dgm:prSet/>
      <dgm:spPr/>
      <dgm:t>
        <a:bodyPr/>
        <a:lstStyle/>
        <a:p>
          <a:pPr>
            <a:lnSpc>
              <a:spcPct val="100000"/>
            </a:lnSpc>
            <a:defRPr cap="all"/>
          </a:pPr>
          <a:r>
            <a:rPr lang="en-US" dirty="0"/>
            <a:t>Security and Privacy</a:t>
          </a:r>
        </a:p>
      </dgm:t>
    </dgm:pt>
    <dgm:pt modelId="{2CF4FCB2-B693-44EA-BBE1-4C3565CC0A69}" type="parTrans" cxnId="{A5B618A3-0F67-4BD3-970F-C91C5713AEDD}">
      <dgm:prSet/>
      <dgm:spPr/>
      <dgm:t>
        <a:bodyPr/>
        <a:lstStyle/>
        <a:p>
          <a:endParaRPr lang="en-US"/>
        </a:p>
      </dgm:t>
    </dgm:pt>
    <dgm:pt modelId="{1CD1B371-FBB2-42D1-A9B7-29785BD22A52}" type="sibTrans" cxnId="{A5B618A3-0F67-4BD3-970F-C91C5713AEDD}">
      <dgm:prSet/>
      <dgm:spPr/>
      <dgm:t>
        <a:bodyPr/>
        <a:lstStyle/>
        <a:p>
          <a:endParaRPr lang="en-US"/>
        </a:p>
      </dgm:t>
    </dgm:pt>
    <dgm:pt modelId="{408C3657-FB3F-4693-A3C7-7E5CC633073E}" type="pres">
      <dgm:prSet presAssocID="{81C57BF6-2157-4734-9F51-37D130592633}" presName="root" presStyleCnt="0">
        <dgm:presLayoutVars>
          <dgm:dir/>
          <dgm:resizeHandles val="exact"/>
        </dgm:presLayoutVars>
      </dgm:prSet>
      <dgm:spPr/>
    </dgm:pt>
    <dgm:pt modelId="{27DA062D-C915-4BF3-A245-0C3A72492B08}" type="pres">
      <dgm:prSet presAssocID="{BEB2B4D0-C844-45E8-AA0C-F4264B07232C}" presName="compNode" presStyleCnt="0"/>
      <dgm:spPr/>
    </dgm:pt>
    <dgm:pt modelId="{6CA6E0C1-8FEE-43D7-AD07-EA83456B6DD6}" type="pres">
      <dgm:prSet presAssocID="{BEB2B4D0-C844-45E8-AA0C-F4264B07232C}" presName="iconBgRect" presStyleLbl="bgShp" presStyleIdx="0" presStyleCnt="5"/>
      <dgm:spPr/>
    </dgm:pt>
    <dgm:pt modelId="{CAF83E29-FFE4-4B41-AD9E-038A843BE78B}" type="pres">
      <dgm:prSet presAssocID="{BEB2B4D0-C844-45E8-AA0C-F4264B07232C}" presName="iconRect" presStyleLbl="node1" presStyleIdx="0" presStyleCnt="5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Document"/>
        </a:ext>
      </dgm:extLst>
    </dgm:pt>
    <dgm:pt modelId="{DC5F5B16-12C2-41FE-988D-2BA4357C06AF}" type="pres">
      <dgm:prSet presAssocID="{BEB2B4D0-C844-45E8-AA0C-F4264B07232C}" presName="spaceRect" presStyleCnt="0"/>
      <dgm:spPr/>
    </dgm:pt>
    <dgm:pt modelId="{7031534A-7F16-4D2C-8D92-C70996AAFDE2}" type="pres">
      <dgm:prSet presAssocID="{BEB2B4D0-C844-45E8-AA0C-F4264B07232C}" presName="textRect" presStyleLbl="revTx" presStyleIdx="0" presStyleCnt="5">
        <dgm:presLayoutVars>
          <dgm:chMax val="1"/>
          <dgm:chPref val="1"/>
        </dgm:presLayoutVars>
      </dgm:prSet>
      <dgm:spPr/>
    </dgm:pt>
    <dgm:pt modelId="{C10D5134-DE95-4CB7-83F5-040501758B6F}" type="pres">
      <dgm:prSet presAssocID="{99DDA043-52E9-456F-B478-00D031832A89}" presName="sibTrans" presStyleCnt="0"/>
      <dgm:spPr/>
    </dgm:pt>
    <dgm:pt modelId="{7BA11E27-C68F-4281-9761-24D6360452C6}" type="pres">
      <dgm:prSet presAssocID="{E2B601CD-FB3A-426C-B8F3-8D62997A201B}" presName="compNode" presStyleCnt="0"/>
      <dgm:spPr/>
    </dgm:pt>
    <dgm:pt modelId="{4C1BD934-54E4-412F-9E4C-336D14D42E72}" type="pres">
      <dgm:prSet presAssocID="{E2B601CD-FB3A-426C-B8F3-8D62997A201B}" presName="iconBgRect" presStyleLbl="bgShp" presStyleIdx="1" presStyleCnt="5"/>
      <dgm:spPr/>
    </dgm:pt>
    <dgm:pt modelId="{35C37B1E-705A-4291-8492-52AF31F91CBC}" type="pres">
      <dgm:prSet presAssocID="{E2B601CD-FB3A-426C-B8F3-8D62997A201B}" presName="iconRect" presStyleLbl="node1" presStyleIdx="1" presStyleCnt="5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Open Folder"/>
        </a:ext>
      </dgm:extLst>
    </dgm:pt>
    <dgm:pt modelId="{B686A823-2709-49F3-8CF5-29F293957FEB}" type="pres">
      <dgm:prSet presAssocID="{E2B601CD-FB3A-426C-B8F3-8D62997A201B}" presName="spaceRect" presStyleCnt="0"/>
      <dgm:spPr/>
    </dgm:pt>
    <dgm:pt modelId="{052BF29B-DAD8-48BF-8FA5-66CE209DB11B}" type="pres">
      <dgm:prSet presAssocID="{E2B601CD-FB3A-426C-B8F3-8D62997A201B}" presName="textRect" presStyleLbl="revTx" presStyleIdx="1" presStyleCnt="5">
        <dgm:presLayoutVars>
          <dgm:chMax val="1"/>
          <dgm:chPref val="1"/>
        </dgm:presLayoutVars>
      </dgm:prSet>
      <dgm:spPr/>
    </dgm:pt>
    <dgm:pt modelId="{361DA1EB-9DD4-4735-AD58-4503462D68BE}" type="pres">
      <dgm:prSet presAssocID="{7253AC12-AE2E-495C-A739-E845E32B4775}" presName="sibTrans" presStyleCnt="0"/>
      <dgm:spPr/>
    </dgm:pt>
    <dgm:pt modelId="{AA7CB701-76B8-4636-9FBB-88E8E0BB01F6}" type="pres">
      <dgm:prSet presAssocID="{03A87241-6089-4AEC-8CE9-E5F41DEA69E4}" presName="compNode" presStyleCnt="0"/>
      <dgm:spPr/>
    </dgm:pt>
    <dgm:pt modelId="{8183A6AB-B27C-4935-842B-52E87636C0E0}" type="pres">
      <dgm:prSet presAssocID="{03A87241-6089-4AEC-8CE9-E5F41DEA69E4}" presName="iconBgRect" presStyleLbl="bgShp" presStyleIdx="2" presStyleCnt="5"/>
      <dgm:spPr/>
    </dgm:pt>
    <dgm:pt modelId="{B7405B12-0A95-4BD0-A564-7B4A2362A592}" type="pres">
      <dgm:prSet presAssocID="{03A87241-6089-4AEC-8CE9-E5F41DEA69E4}" presName="iconRect" presStyleLbl="node1" presStyleIdx="2" presStyleCnt="5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heckmark"/>
        </a:ext>
      </dgm:extLst>
    </dgm:pt>
    <dgm:pt modelId="{84ABDFC3-0446-4BFA-ABAA-AA3C7473456A}" type="pres">
      <dgm:prSet presAssocID="{03A87241-6089-4AEC-8CE9-E5F41DEA69E4}" presName="spaceRect" presStyleCnt="0"/>
      <dgm:spPr/>
    </dgm:pt>
    <dgm:pt modelId="{BB707296-89F1-42D1-9B37-D2F2724AECDA}" type="pres">
      <dgm:prSet presAssocID="{03A87241-6089-4AEC-8CE9-E5F41DEA69E4}" presName="textRect" presStyleLbl="revTx" presStyleIdx="2" presStyleCnt="5">
        <dgm:presLayoutVars>
          <dgm:chMax val="1"/>
          <dgm:chPref val="1"/>
        </dgm:presLayoutVars>
      </dgm:prSet>
      <dgm:spPr/>
    </dgm:pt>
    <dgm:pt modelId="{E7167AD0-6BF5-4FEC-9683-B55A8B6E4EAA}" type="pres">
      <dgm:prSet presAssocID="{68A9C3ED-9133-409A-AAFE-9AE1825D36E6}" presName="sibTrans" presStyleCnt="0"/>
      <dgm:spPr/>
    </dgm:pt>
    <dgm:pt modelId="{886310A2-E017-4E2D-93CE-42E0E3A1B804}" type="pres">
      <dgm:prSet presAssocID="{BF1C2E17-B90E-45FA-BA60-258F21BE652C}" presName="compNode" presStyleCnt="0"/>
      <dgm:spPr/>
    </dgm:pt>
    <dgm:pt modelId="{DE08A44D-C64C-4247-9AA2-724967C60425}" type="pres">
      <dgm:prSet presAssocID="{BF1C2E17-B90E-45FA-BA60-258F21BE652C}" presName="iconBgRect" presStyleLbl="bgShp" presStyleIdx="3" presStyleCnt="5"/>
      <dgm:spPr/>
    </dgm:pt>
    <dgm:pt modelId="{BD1762D0-2D35-46D1-831E-34D7ED0889BE}" type="pres">
      <dgm:prSet presAssocID="{BF1C2E17-B90E-45FA-BA60-258F21BE652C}" presName="iconRect" presStyleLbl="node1" presStyleIdx="3" presStyleCnt="5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Database"/>
        </a:ext>
      </dgm:extLst>
    </dgm:pt>
    <dgm:pt modelId="{DF6B5F21-9E99-4A5D-A645-B73C4E3149FD}" type="pres">
      <dgm:prSet presAssocID="{BF1C2E17-B90E-45FA-BA60-258F21BE652C}" presName="spaceRect" presStyleCnt="0"/>
      <dgm:spPr/>
    </dgm:pt>
    <dgm:pt modelId="{6E55858E-A273-4179-B789-F893A7D09B1E}" type="pres">
      <dgm:prSet presAssocID="{BF1C2E17-B90E-45FA-BA60-258F21BE652C}" presName="textRect" presStyleLbl="revTx" presStyleIdx="3" presStyleCnt="5">
        <dgm:presLayoutVars>
          <dgm:chMax val="1"/>
          <dgm:chPref val="1"/>
        </dgm:presLayoutVars>
      </dgm:prSet>
      <dgm:spPr/>
    </dgm:pt>
    <dgm:pt modelId="{91AE0BB2-03DE-436F-9328-6FA3E918D08D}" type="pres">
      <dgm:prSet presAssocID="{859E82F1-38C6-41DE-B2A5-0878FD3E01EC}" presName="sibTrans" presStyleCnt="0"/>
      <dgm:spPr/>
    </dgm:pt>
    <dgm:pt modelId="{D9996F0A-6E73-42F5-AFB4-4D932BECDD36}" type="pres">
      <dgm:prSet presAssocID="{E9E8D9B0-2334-4BE6-A14F-3522436612F2}" presName="compNode" presStyleCnt="0"/>
      <dgm:spPr/>
    </dgm:pt>
    <dgm:pt modelId="{BC922567-6BDF-4078-9B0F-C4C2D5746E10}" type="pres">
      <dgm:prSet presAssocID="{E9E8D9B0-2334-4BE6-A14F-3522436612F2}" presName="iconBgRect" presStyleLbl="bgShp" presStyleIdx="4" presStyleCnt="5"/>
      <dgm:spPr/>
    </dgm:pt>
    <dgm:pt modelId="{0E722F0E-F1A4-4B95-9DBF-A66632E0E2A7}" type="pres">
      <dgm:prSet presAssocID="{E9E8D9B0-2334-4BE6-A14F-3522436612F2}" presName="iconRect" presStyleLbl="node1" presStyleIdx="4" presStyleCnt="5"/>
      <dgm:spPr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Lock"/>
        </a:ext>
      </dgm:extLst>
    </dgm:pt>
    <dgm:pt modelId="{EF75EDEB-F86C-46F4-BB00-F9D78A0208AE}" type="pres">
      <dgm:prSet presAssocID="{E9E8D9B0-2334-4BE6-A14F-3522436612F2}" presName="spaceRect" presStyleCnt="0"/>
      <dgm:spPr/>
    </dgm:pt>
    <dgm:pt modelId="{92CBC042-1E7B-43AE-8C51-FA709EF5E581}" type="pres">
      <dgm:prSet presAssocID="{E9E8D9B0-2334-4BE6-A14F-3522436612F2}" presName="textRect" presStyleLbl="revTx" presStyleIdx="4" presStyleCnt="5">
        <dgm:presLayoutVars>
          <dgm:chMax val="1"/>
          <dgm:chPref val="1"/>
        </dgm:presLayoutVars>
      </dgm:prSet>
      <dgm:spPr/>
    </dgm:pt>
  </dgm:ptLst>
  <dgm:cxnLst>
    <dgm:cxn modelId="{322D0326-697A-4BDB-AB7B-7DF0E8937CA8}" srcId="{81C57BF6-2157-4734-9F51-37D130592633}" destId="{BEB2B4D0-C844-45E8-AA0C-F4264B07232C}" srcOrd="0" destOrd="0" parTransId="{C912F6FB-B26F-4553-B86F-031473E6F064}" sibTransId="{99DDA043-52E9-456F-B478-00D031832A89}"/>
    <dgm:cxn modelId="{87FAD12E-38A9-42D8-82A4-3651B36C3240}" type="presOf" srcId="{E2B601CD-FB3A-426C-B8F3-8D62997A201B}" destId="{052BF29B-DAD8-48BF-8FA5-66CE209DB11B}" srcOrd="0" destOrd="0" presId="urn:microsoft.com/office/officeart/2018/5/layout/IconCircleLabelList"/>
    <dgm:cxn modelId="{FC2AF95D-254A-4C6D-B204-D8BE866437AA}" type="presOf" srcId="{E9E8D9B0-2334-4BE6-A14F-3522436612F2}" destId="{92CBC042-1E7B-43AE-8C51-FA709EF5E581}" srcOrd="0" destOrd="0" presId="urn:microsoft.com/office/officeart/2018/5/layout/IconCircleLabelList"/>
    <dgm:cxn modelId="{D3F73541-69B4-4CB3-8615-5A96E0697EA8}" srcId="{81C57BF6-2157-4734-9F51-37D130592633}" destId="{BF1C2E17-B90E-45FA-BA60-258F21BE652C}" srcOrd="3" destOrd="0" parTransId="{5A21E375-7C92-4720-8175-364AFD6AC805}" sibTransId="{859E82F1-38C6-41DE-B2A5-0878FD3E01EC}"/>
    <dgm:cxn modelId="{35155A66-48A1-47E1-8D88-03A8005A29F5}" type="presOf" srcId="{BEB2B4D0-C844-45E8-AA0C-F4264B07232C}" destId="{7031534A-7F16-4D2C-8D92-C70996AAFDE2}" srcOrd="0" destOrd="0" presId="urn:microsoft.com/office/officeart/2018/5/layout/IconCircleLabelList"/>
    <dgm:cxn modelId="{632D7499-669B-46E2-BBFA-5F8F64539970}" type="presOf" srcId="{BF1C2E17-B90E-45FA-BA60-258F21BE652C}" destId="{6E55858E-A273-4179-B789-F893A7D09B1E}" srcOrd="0" destOrd="0" presId="urn:microsoft.com/office/officeart/2018/5/layout/IconCircleLabelList"/>
    <dgm:cxn modelId="{A5B618A3-0F67-4BD3-970F-C91C5713AEDD}" srcId="{81C57BF6-2157-4734-9F51-37D130592633}" destId="{E9E8D9B0-2334-4BE6-A14F-3522436612F2}" srcOrd="4" destOrd="0" parTransId="{2CF4FCB2-B693-44EA-BBE1-4C3565CC0A69}" sibTransId="{1CD1B371-FBB2-42D1-A9B7-29785BD22A52}"/>
    <dgm:cxn modelId="{8EC049A4-207B-47CF-A666-676FD1DE2F78}" type="presOf" srcId="{81C57BF6-2157-4734-9F51-37D130592633}" destId="{408C3657-FB3F-4693-A3C7-7E5CC633073E}" srcOrd="0" destOrd="0" presId="urn:microsoft.com/office/officeart/2018/5/layout/IconCircleLabelList"/>
    <dgm:cxn modelId="{459DEEAB-08DD-4CF2-9DCF-9ED258646BF7}" srcId="{81C57BF6-2157-4734-9F51-37D130592633}" destId="{E2B601CD-FB3A-426C-B8F3-8D62997A201B}" srcOrd="1" destOrd="0" parTransId="{6977E50A-E192-4287-9AE4-FAF019D846C5}" sibTransId="{7253AC12-AE2E-495C-A739-E845E32B4775}"/>
    <dgm:cxn modelId="{FBC5A5C7-2FF5-4650-A790-2627FC988284}" type="presOf" srcId="{03A87241-6089-4AEC-8CE9-E5F41DEA69E4}" destId="{BB707296-89F1-42D1-9B37-D2F2724AECDA}" srcOrd="0" destOrd="0" presId="urn:microsoft.com/office/officeart/2018/5/layout/IconCircleLabelList"/>
    <dgm:cxn modelId="{801E36E2-BC52-40C6-8656-89A45A8520EB}" srcId="{81C57BF6-2157-4734-9F51-37D130592633}" destId="{03A87241-6089-4AEC-8CE9-E5F41DEA69E4}" srcOrd="2" destOrd="0" parTransId="{4A91CCE5-0745-4DF7-AC8E-B67D49DFF7D3}" sibTransId="{68A9C3ED-9133-409A-AAFE-9AE1825D36E6}"/>
    <dgm:cxn modelId="{1476EE56-1086-495D-B027-F03965308DDA}" type="presParOf" srcId="{408C3657-FB3F-4693-A3C7-7E5CC633073E}" destId="{27DA062D-C915-4BF3-A245-0C3A72492B08}" srcOrd="0" destOrd="0" presId="urn:microsoft.com/office/officeart/2018/5/layout/IconCircleLabelList"/>
    <dgm:cxn modelId="{3C148AEF-A55E-46CB-927E-BF1B817A4DBC}" type="presParOf" srcId="{27DA062D-C915-4BF3-A245-0C3A72492B08}" destId="{6CA6E0C1-8FEE-43D7-AD07-EA83456B6DD6}" srcOrd="0" destOrd="0" presId="urn:microsoft.com/office/officeart/2018/5/layout/IconCircleLabelList"/>
    <dgm:cxn modelId="{75CD8D5F-DBA5-4D4B-A8A4-918BE65C95E2}" type="presParOf" srcId="{27DA062D-C915-4BF3-A245-0C3A72492B08}" destId="{CAF83E29-FFE4-4B41-AD9E-038A843BE78B}" srcOrd="1" destOrd="0" presId="urn:microsoft.com/office/officeart/2018/5/layout/IconCircleLabelList"/>
    <dgm:cxn modelId="{3B483ECA-F3D0-44D7-8991-2DC2051CEC4A}" type="presParOf" srcId="{27DA062D-C915-4BF3-A245-0C3A72492B08}" destId="{DC5F5B16-12C2-41FE-988D-2BA4357C06AF}" srcOrd="2" destOrd="0" presId="urn:microsoft.com/office/officeart/2018/5/layout/IconCircleLabelList"/>
    <dgm:cxn modelId="{3339BD12-B6F7-48FA-A521-3C334A958902}" type="presParOf" srcId="{27DA062D-C915-4BF3-A245-0C3A72492B08}" destId="{7031534A-7F16-4D2C-8D92-C70996AAFDE2}" srcOrd="3" destOrd="0" presId="urn:microsoft.com/office/officeart/2018/5/layout/IconCircleLabelList"/>
    <dgm:cxn modelId="{0E52B969-5A84-4308-A356-AC51F9B8253F}" type="presParOf" srcId="{408C3657-FB3F-4693-A3C7-7E5CC633073E}" destId="{C10D5134-DE95-4CB7-83F5-040501758B6F}" srcOrd="1" destOrd="0" presId="urn:microsoft.com/office/officeart/2018/5/layout/IconCircleLabelList"/>
    <dgm:cxn modelId="{669287FD-FDD4-47B2-840A-F3E4F8984B33}" type="presParOf" srcId="{408C3657-FB3F-4693-A3C7-7E5CC633073E}" destId="{7BA11E27-C68F-4281-9761-24D6360452C6}" srcOrd="2" destOrd="0" presId="urn:microsoft.com/office/officeart/2018/5/layout/IconCircleLabelList"/>
    <dgm:cxn modelId="{5CC7739E-2E09-4899-9232-34BFACE4BEFD}" type="presParOf" srcId="{7BA11E27-C68F-4281-9761-24D6360452C6}" destId="{4C1BD934-54E4-412F-9E4C-336D14D42E72}" srcOrd="0" destOrd="0" presId="urn:microsoft.com/office/officeart/2018/5/layout/IconCircleLabelList"/>
    <dgm:cxn modelId="{11811310-DBDB-4931-BE4E-5A172DDDCDFF}" type="presParOf" srcId="{7BA11E27-C68F-4281-9761-24D6360452C6}" destId="{35C37B1E-705A-4291-8492-52AF31F91CBC}" srcOrd="1" destOrd="0" presId="urn:microsoft.com/office/officeart/2018/5/layout/IconCircleLabelList"/>
    <dgm:cxn modelId="{E1A5C96C-CC06-475A-A899-AA3CC2DED128}" type="presParOf" srcId="{7BA11E27-C68F-4281-9761-24D6360452C6}" destId="{B686A823-2709-49F3-8CF5-29F293957FEB}" srcOrd="2" destOrd="0" presId="urn:microsoft.com/office/officeart/2018/5/layout/IconCircleLabelList"/>
    <dgm:cxn modelId="{47A7C5A1-414A-4136-930E-EDA178A55431}" type="presParOf" srcId="{7BA11E27-C68F-4281-9761-24D6360452C6}" destId="{052BF29B-DAD8-48BF-8FA5-66CE209DB11B}" srcOrd="3" destOrd="0" presId="urn:microsoft.com/office/officeart/2018/5/layout/IconCircleLabelList"/>
    <dgm:cxn modelId="{3310C8AE-67EE-472A-83E9-19B3ACE752B3}" type="presParOf" srcId="{408C3657-FB3F-4693-A3C7-7E5CC633073E}" destId="{361DA1EB-9DD4-4735-AD58-4503462D68BE}" srcOrd="3" destOrd="0" presId="urn:microsoft.com/office/officeart/2018/5/layout/IconCircleLabelList"/>
    <dgm:cxn modelId="{CFAA857C-9F30-4F6C-B16A-A5E49C2D0460}" type="presParOf" srcId="{408C3657-FB3F-4693-A3C7-7E5CC633073E}" destId="{AA7CB701-76B8-4636-9FBB-88E8E0BB01F6}" srcOrd="4" destOrd="0" presId="urn:microsoft.com/office/officeart/2018/5/layout/IconCircleLabelList"/>
    <dgm:cxn modelId="{C3388318-1F5A-44DE-808E-3BA42687EFFD}" type="presParOf" srcId="{AA7CB701-76B8-4636-9FBB-88E8E0BB01F6}" destId="{8183A6AB-B27C-4935-842B-52E87636C0E0}" srcOrd="0" destOrd="0" presId="urn:microsoft.com/office/officeart/2018/5/layout/IconCircleLabelList"/>
    <dgm:cxn modelId="{5CF5D4A9-76FD-4382-92B4-ACD23378C98C}" type="presParOf" srcId="{AA7CB701-76B8-4636-9FBB-88E8E0BB01F6}" destId="{B7405B12-0A95-4BD0-A564-7B4A2362A592}" srcOrd="1" destOrd="0" presId="urn:microsoft.com/office/officeart/2018/5/layout/IconCircleLabelList"/>
    <dgm:cxn modelId="{EEA4ACCE-2C3D-43EE-B19A-8FC49A7CF2A4}" type="presParOf" srcId="{AA7CB701-76B8-4636-9FBB-88E8E0BB01F6}" destId="{84ABDFC3-0446-4BFA-ABAA-AA3C7473456A}" srcOrd="2" destOrd="0" presId="urn:microsoft.com/office/officeart/2018/5/layout/IconCircleLabelList"/>
    <dgm:cxn modelId="{253C7702-9C35-46C7-8E23-B7E18B822960}" type="presParOf" srcId="{AA7CB701-76B8-4636-9FBB-88E8E0BB01F6}" destId="{BB707296-89F1-42D1-9B37-D2F2724AECDA}" srcOrd="3" destOrd="0" presId="urn:microsoft.com/office/officeart/2018/5/layout/IconCircleLabelList"/>
    <dgm:cxn modelId="{8F585B7F-C489-4E79-A1CF-9F33A486F29A}" type="presParOf" srcId="{408C3657-FB3F-4693-A3C7-7E5CC633073E}" destId="{E7167AD0-6BF5-4FEC-9683-B55A8B6E4EAA}" srcOrd="5" destOrd="0" presId="urn:microsoft.com/office/officeart/2018/5/layout/IconCircleLabelList"/>
    <dgm:cxn modelId="{6D4E6922-DD61-4C2F-94CA-B19D80E27FD8}" type="presParOf" srcId="{408C3657-FB3F-4693-A3C7-7E5CC633073E}" destId="{886310A2-E017-4E2D-93CE-42E0E3A1B804}" srcOrd="6" destOrd="0" presId="urn:microsoft.com/office/officeart/2018/5/layout/IconCircleLabelList"/>
    <dgm:cxn modelId="{46E8F0C4-C471-4AFE-A43C-4E353BABC9C8}" type="presParOf" srcId="{886310A2-E017-4E2D-93CE-42E0E3A1B804}" destId="{DE08A44D-C64C-4247-9AA2-724967C60425}" srcOrd="0" destOrd="0" presId="urn:microsoft.com/office/officeart/2018/5/layout/IconCircleLabelList"/>
    <dgm:cxn modelId="{455554F2-8323-4F21-B824-65DAD608094E}" type="presParOf" srcId="{886310A2-E017-4E2D-93CE-42E0E3A1B804}" destId="{BD1762D0-2D35-46D1-831E-34D7ED0889BE}" srcOrd="1" destOrd="0" presId="urn:microsoft.com/office/officeart/2018/5/layout/IconCircleLabelList"/>
    <dgm:cxn modelId="{C38CC7E1-6253-471F-9FF9-7BDA1473BA6B}" type="presParOf" srcId="{886310A2-E017-4E2D-93CE-42E0E3A1B804}" destId="{DF6B5F21-9E99-4A5D-A645-B73C4E3149FD}" srcOrd="2" destOrd="0" presId="urn:microsoft.com/office/officeart/2018/5/layout/IconCircleLabelList"/>
    <dgm:cxn modelId="{74CF1768-8103-4833-BABA-DC0600C7173C}" type="presParOf" srcId="{886310A2-E017-4E2D-93CE-42E0E3A1B804}" destId="{6E55858E-A273-4179-B789-F893A7D09B1E}" srcOrd="3" destOrd="0" presId="urn:microsoft.com/office/officeart/2018/5/layout/IconCircleLabelList"/>
    <dgm:cxn modelId="{C37760AE-0E3F-4B56-B40C-B241EBF4FD33}" type="presParOf" srcId="{408C3657-FB3F-4693-A3C7-7E5CC633073E}" destId="{91AE0BB2-03DE-436F-9328-6FA3E918D08D}" srcOrd="7" destOrd="0" presId="urn:microsoft.com/office/officeart/2018/5/layout/IconCircleLabelList"/>
    <dgm:cxn modelId="{AF2E11FD-3877-4DDC-A040-B235E6A57A90}" type="presParOf" srcId="{408C3657-FB3F-4693-A3C7-7E5CC633073E}" destId="{D9996F0A-6E73-42F5-AFB4-4D932BECDD36}" srcOrd="8" destOrd="0" presId="urn:microsoft.com/office/officeart/2018/5/layout/IconCircleLabelList"/>
    <dgm:cxn modelId="{1D9ACFE1-A225-4A9B-9E73-2B855A441C05}" type="presParOf" srcId="{D9996F0A-6E73-42F5-AFB4-4D932BECDD36}" destId="{BC922567-6BDF-4078-9B0F-C4C2D5746E10}" srcOrd="0" destOrd="0" presId="urn:microsoft.com/office/officeart/2018/5/layout/IconCircleLabelList"/>
    <dgm:cxn modelId="{E487101F-25FF-41B0-9C67-67D580110388}" type="presParOf" srcId="{D9996F0A-6E73-42F5-AFB4-4D932BECDD36}" destId="{0E722F0E-F1A4-4B95-9DBF-A66632E0E2A7}" srcOrd="1" destOrd="0" presId="urn:microsoft.com/office/officeart/2018/5/layout/IconCircleLabelList"/>
    <dgm:cxn modelId="{A0AA107C-77D5-46F3-92E5-7615EA45B169}" type="presParOf" srcId="{D9996F0A-6E73-42F5-AFB4-4D932BECDD36}" destId="{EF75EDEB-F86C-46F4-BB00-F9D78A0208AE}" srcOrd="2" destOrd="0" presId="urn:microsoft.com/office/officeart/2018/5/layout/IconCircleLabelList"/>
    <dgm:cxn modelId="{FE0BF69F-85B2-4113-94F0-E589419718AB}" type="presParOf" srcId="{D9996F0A-6E73-42F5-AFB4-4D932BECDD36}" destId="{92CBC042-1E7B-43AE-8C51-FA709EF5E581}" srcOrd="3" destOrd="0" presId="urn:microsoft.com/office/officeart/2018/5/layout/IconCircleLabel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4D99911-0C2F-43F8-8B37-D5B84D6CF8DE}" type="doc">
      <dgm:prSet loTypeId="urn:microsoft.com/office/officeart/2008/layout/LinedList" loCatId="list" qsTypeId="urn:microsoft.com/office/officeart/2005/8/quickstyle/simple5" qsCatId="simple" csTypeId="urn:microsoft.com/office/officeart/2005/8/colors/accent2_4" csCatId="accent2" phldr="1"/>
      <dgm:spPr/>
      <dgm:t>
        <a:bodyPr/>
        <a:lstStyle/>
        <a:p>
          <a:endParaRPr lang="en-US"/>
        </a:p>
      </dgm:t>
    </dgm:pt>
    <dgm:pt modelId="{253FD290-E476-491F-B8D1-30DDCF203841}">
      <dgm:prSet/>
      <dgm:spPr/>
      <dgm:t>
        <a:bodyPr/>
        <a:lstStyle/>
        <a:p>
          <a:r>
            <a:rPr lang="en-US" dirty="0"/>
            <a:t>C1 	</a:t>
          </a:r>
        </a:p>
      </dgm:t>
    </dgm:pt>
    <dgm:pt modelId="{FC8EBFC1-773F-4471-9FB2-3729D657E223}" type="parTrans" cxnId="{1183F5BE-C292-4E50-B031-0965E392FAA2}">
      <dgm:prSet/>
      <dgm:spPr/>
      <dgm:t>
        <a:bodyPr/>
        <a:lstStyle/>
        <a:p>
          <a:endParaRPr lang="en-US"/>
        </a:p>
      </dgm:t>
    </dgm:pt>
    <dgm:pt modelId="{7F72DED9-2E09-4306-840A-80A401EAE110}" type="sibTrans" cxnId="{1183F5BE-C292-4E50-B031-0965E392FAA2}">
      <dgm:prSet/>
      <dgm:spPr/>
      <dgm:t>
        <a:bodyPr/>
        <a:lstStyle/>
        <a:p>
          <a:endParaRPr lang="en-US"/>
        </a:p>
      </dgm:t>
    </dgm:pt>
    <dgm:pt modelId="{0EDC2164-7735-4C63-BE5A-1FB3D3B64633}">
      <dgm:prSet custT="1"/>
      <dgm:spPr/>
      <dgm:t>
        <a:bodyPr/>
        <a:lstStyle/>
        <a:p>
          <a:r>
            <a:rPr lang="en-US" sz="2400" dirty="0"/>
            <a:t>Syllabi for the current and previous offerings of the course; </a:t>
          </a:r>
        </a:p>
      </dgm:t>
    </dgm:pt>
    <dgm:pt modelId="{A3416DCC-417D-4BF5-852A-9938A6A7E50F}" type="parTrans" cxnId="{B1E6D343-32B3-4CC7-8AE1-F980F68B962F}">
      <dgm:prSet/>
      <dgm:spPr/>
      <dgm:t>
        <a:bodyPr/>
        <a:lstStyle/>
        <a:p>
          <a:endParaRPr lang="en-US"/>
        </a:p>
      </dgm:t>
    </dgm:pt>
    <dgm:pt modelId="{76CF456E-48B7-4D02-9EE8-04A3AA53947B}" type="sibTrans" cxnId="{B1E6D343-32B3-4CC7-8AE1-F980F68B962F}">
      <dgm:prSet/>
      <dgm:spPr/>
      <dgm:t>
        <a:bodyPr/>
        <a:lstStyle/>
        <a:p>
          <a:endParaRPr lang="en-US"/>
        </a:p>
      </dgm:t>
    </dgm:pt>
    <dgm:pt modelId="{069AB595-D2E1-4131-B82A-9224B26B4E77}">
      <dgm:prSet/>
      <dgm:spPr/>
      <dgm:t>
        <a:bodyPr/>
        <a:lstStyle/>
        <a:p>
          <a:r>
            <a:rPr lang="en-US" dirty="0"/>
            <a:t>C2 </a:t>
          </a:r>
        </a:p>
      </dgm:t>
    </dgm:pt>
    <dgm:pt modelId="{5719C7F1-A070-4BF7-8129-497A6FC45330}" type="parTrans" cxnId="{6496417B-544C-4506-9336-C3030AC41338}">
      <dgm:prSet/>
      <dgm:spPr/>
      <dgm:t>
        <a:bodyPr/>
        <a:lstStyle/>
        <a:p>
          <a:endParaRPr lang="en-US"/>
        </a:p>
      </dgm:t>
    </dgm:pt>
    <dgm:pt modelId="{D3D38D6B-685C-4D6D-83E7-187061FA4B1C}" type="sibTrans" cxnId="{6496417B-544C-4506-9336-C3030AC41338}">
      <dgm:prSet/>
      <dgm:spPr/>
      <dgm:t>
        <a:bodyPr/>
        <a:lstStyle/>
        <a:p>
          <a:endParaRPr lang="en-US"/>
        </a:p>
      </dgm:t>
    </dgm:pt>
    <dgm:pt modelId="{A4956A94-95A4-4D38-A4DB-53DB41BB9295}">
      <dgm:prSet custT="1"/>
      <dgm:spPr/>
      <dgm:t>
        <a:bodyPr/>
        <a:lstStyle/>
        <a:p>
          <a:r>
            <a:rPr lang="en-US" sz="2400" dirty="0"/>
            <a:t>Copies of all instructor teaching materials; </a:t>
          </a:r>
        </a:p>
      </dgm:t>
    </dgm:pt>
    <dgm:pt modelId="{76DB8420-E79C-4E63-B938-BCA8F2734200}" type="parTrans" cxnId="{768B3FEF-2907-465E-ADF4-0E690C0C0DBE}">
      <dgm:prSet/>
      <dgm:spPr/>
      <dgm:t>
        <a:bodyPr/>
        <a:lstStyle/>
        <a:p>
          <a:endParaRPr lang="en-US"/>
        </a:p>
      </dgm:t>
    </dgm:pt>
    <dgm:pt modelId="{37C9006B-A065-42D9-984C-05B2C5F16E2D}" type="sibTrans" cxnId="{768B3FEF-2907-465E-ADF4-0E690C0C0DBE}">
      <dgm:prSet/>
      <dgm:spPr/>
      <dgm:t>
        <a:bodyPr/>
        <a:lstStyle/>
        <a:p>
          <a:endParaRPr lang="en-US"/>
        </a:p>
      </dgm:t>
    </dgm:pt>
    <dgm:pt modelId="{65638101-DA8E-4ECB-A1DD-37B3C30C12A7}">
      <dgm:prSet/>
      <dgm:spPr/>
      <dgm:t>
        <a:bodyPr/>
        <a:lstStyle/>
        <a:p>
          <a:r>
            <a:rPr lang="en-US" dirty="0"/>
            <a:t>C3 </a:t>
          </a:r>
        </a:p>
      </dgm:t>
    </dgm:pt>
    <dgm:pt modelId="{51625360-DC7F-4516-8D30-F9C394E5CBF7}" type="parTrans" cxnId="{E416498D-4806-49A9-9764-7DAA7728652A}">
      <dgm:prSet/>
      <dgm:spPr/>
      <dgm:t>
        <a:bodyPr/>
        <a:lstStyle/>
        <a:p>
          <a:endParaRPr lang="en-US"/>
        </a:p>
      </dgm:t>
    </dgm:pt>
    <dgm:pt modelId="{B0119480-37A4-4235-A6B0-6A8227CE6024}" type="sibTrans" cxnId="{E416498D-4806-49A9-9764-7DAA7728652A}">
      <dgm:prSet/>
      <dgm:spPr/>
      <dgm:t>
        <a:bodyPr/>
        <a:lstStyle/>
        <a:p>
          <a:endParaRPr lang="en-US"/>
        </a:p>
      </dgm:t>
    </dgm:pt>
    <dgm:pt modelId="{9B5D0BFA-4AE3-48C1-9B5C-7947A1CDAFD8}">
      <dgm:prSet custT="1"/>
      <dgm:spPr/>
      <dgm:t>
        <a:bodyPr/>
        <a:lstStyle/>
        <a:p>
          <a:r>
            <a:rPr lang="en-US" sz="2400" dirty="0"/>
            <a:t>Copies of all assessment instruments; </a:t>
          </a:r>
        </a:p>
      </dgm:t>
    </dgm:pt>
    <dgm:pt modelId="{447A5340-CE61-4E77-B2FF-DEBF280C1736}" type="parTrans" cxnId="{AA817EBB-EDC5-4469-BD95-8D9EDF133130}">
      <dgm:prSet/>
      <dgm:spPr/>
      <dgm:t>
        <a:bodyPr/>
        <a:lstStyle/>
        <a:p>
          <a:endParaRPr lang="en-US"/>
        </a:p>
      </dgm:t>
    </dgm:pt>
    <dgm:pt modelId="{B6C7150C-0C15-459E-97C5-3570FF683501}" type="sibTrans" cxnId="{AA817EBB-EDC5-4469-BD95-8D9EDF133130}">
      <dgm:prSet/>
      <dgm:spPr/>
      <dgm:t>
        <a:bodyPr/>
        <a:lstStyle/>
        <a:p>
          <a:endParaRPr lang="en-US"/>
        </a:p>
      </dgm:t>
    </dgm:pt>
    <dgm:pt modelId="{D50D93A5-B441-439C-82B4-93D34BD13F0A}">
      <dgm:prSet/>
      <dgm:spPr/>
      <dgm:t>
        <a:bodyPr/>
        <a:lstStyle/>
        <a:p>
          <a:r>
            <a:rPr lang="en-US" dirty="0"/>
            <a:t>C4 </a:t>
          </a:r>
        </a:p>
      </dgm:t>
    </dgm:pt>
    <dgm:pt modelId="{A96BBB34-EE8B-43DA-9917-DEC9ED8E056C}" type="parTrans" cxnId="{51FC982C-6022-49BC-9242-DA48B99BD022}">
      <dgm:prSet/>
      <dgm:spPr/>
      <dgm:t>
        <a:bodyPr/>
        <a:lstStyle/>
        <a:p>
          <a:endParaRPr lang="en-US"/>
        </a:p>
      </dgm:t>
    </dgm:pt>
    <dgm:pt modelId="{BBC972B8-5B08-4A76-B870-B3859D828019}" type="sibTrans" cxnId="{51FC982C-6022-49BC-9242-DA48B99BD022}">
      <dgm:prSet/>
      <dgm:spPr/>
      <dgm:t>
        <a:bodyPr/>
        <a:lstStyle/>
        <a:p>
          <a:endParaRPr lang="en-US"/>
        </a:p>
      </dgm:t>
    </dgm:pt>
    <dgm:pt modelId="{16155284-13A3-4475-8A14-4DE12EA24BC4}">
      <dgm:prSet custT="1"/>
      <dgm:spPr/>
      <dgm:t>
        <a:bodyPr/>
        <a:lstStyle/>
        <a:p>
          <a:r>
            <a:rPr lang="en-US" sz="2400" dirty="0"/>
            <a:t>Instructor worked answers and marking schemes for all assessment instruments; </a:t>
          </a:r>
        </a:p>
      </dgm:t>
    </dgm:pt>
    <dgm:pt modelId="{34EAE412-E792-4798-BD51-EE0DA319CE6B}" type="parTrans" cxnId="{58CA1772-E0F4-415D-8826-CCE82EB317F2}">
      <dgm:prSet/>
      <dgm:spPr/>
      <dgm:t>
        <a:bodyPr/>
        <a:lstStyle/>
        <a:p>
          <a:endParaRPr lang="en-US"/>
        </a:p>
      </dgm:t>
    </dgm:pt>
    <dgm:pt modelId="{D2843E2C-5371-4B0A-BBBC-5ADC9BA99CDE}" type="sibTrans" cxnId="{58CA1772-E0F4-415D-8826-CCE82EB317F2}">
      <dgm:prSet/>
      <dgm:spPr/>
      <dgm:t>
        <a:bodyPr/>
        <a:lstStyle/>
        <a:p>
          <a:endParaRPr lang="en-US"/>
        </a:p>
      </dgm:t>
    </dgm:pt>
    <dgm:pt modelId="{90E7E2D6-6709-45C4-86E0-01AE5D931331}">
      <dgm:prSet/>
      <dgm:spPr/>
      <dgm:t>
        <a:bodyPr/>
        <a:lstStyle/>
        <a:p>
          <a:r>
            <a:rPr lang="en-US" dirty="0"/>
            <a:t>C5 </a:t>
          </a:r>
        </a:p>
      </dgm:t>
    </dgm:pt>
    <dgm:pt modelId="{7509F7A8-A783-4457-843B-F707C34D76D0}" type="parTrans" cxnId="{284ACAF5-6E8A-4D33-A705-3174C3FAB080}">
      <dgm:prSet/>
      <dgm:spPr/>
      <dgm:t>
        <a:bodyPr/>
        <a:lstStyle/>
        <a:p>
          <a:endParaRPr lang="en-US"/>
        </a:p>
      </dgm:t>
    </dgm:pt>
    <dgm:pt modelId="{8DB15AE0-AD24-4A86-812E-755B92FE0C83}" type="sibTrans" cxnId="{284ACAF5-6E8A-4D33-A705-3174C3FAB080}">
      <dgm:prSet/>
      <dgm:spPr/>
      <dgm:t>
        <a:bodyPr/>
        <a:lstStyle/>
        <a:p>
          <a:endParaRPr lang="en-US"/>
        </a:p>
      </dgm:t>
    </dgm:pt>
    <dgm:pt modelId="{62BD05A8-89CE-4ABD-93DA-DA21CAD3483D}">
      <dgm:prSet custT="1"/>
      <dgm:spPr/>
      <dgm:t>
        <a:bodyPr/>
        <a:lstStyle/>
        <a:p>
          <a:r>
            <a:rPr lang="en-US" sz="2400" dirty="0"/>
            <a:t>Examples from across the range of student performance of graded responses to all assessment instruments; </a:t>
          </a:r>
        </a:p>
      </dgm:t>
    </dgm:pt>
    <dgm:pt modelId="{C3C134FF-3666-402A-AA17-23EE9B963556}" type="parTrans" cxnId="{9E326101-514E-4FC5-BEEC-40FFDB283DF3}">
      <dgm:prSet/>
      <dgm:spPr/>
      <dgm:t>
        <a:bodyPr/>
        <a:lstStyle/>
        <a:p>
          <a:endParaRPr lang="en-US"/>
        </a:p>
      </dgm:t>
    </dgm:pt>
    <dgm:pt modelId="{A4450984-0D2D-4F35-81C6-9031A2D9E675}" type="sibTrans" cxnId="{9E326101-514E-4FC5-BEEC-40FFDB283DF3}">
      <dgm:prSet/>
      <dgm:spPr/>
      <dgm:t>
        <a:bodyPr/>
        <a:lstStyle/>
        <a:p>
          <a:endParaRPr lang="en-US"/>
        </a:p>
      </dgm:t>
    </dgm:pt>
    <dgm:pt modelId="{5346E1A4-B797-43E9-BE16-618ECAB1E0F8}">
      <dgm:prSet/>
      <dgm:spPr/>
      <dgm:t>
        <a:bodyPr/>
        <a:lstStyle/>
        <a:p>
          <a:r>
            <a:rPr lang="en-US" dirty="0"/>
            <a:t>C6 </a:t>
          </a:r>
        </a:p>
      </dgm:t>
    </dgm:pt>
    <dgm:pt modelId="{BA2AB94A-798F-4B6B-948D-DE09A9625A59}" type="parTrans" cxnId="{C3232F73-232F-4077-8618-7EAB45BE6971}">
      <dgm:prSet/>
      <dgm:spPr/>
      <dgm:t>
        <a:bodyPr/>
        <a:lstStyle/>
        <a:p>
          <a:endParaRPr lang="en-US"/>
        </a:p>
      </dgm:t>
    </dgm:pt>
    <dgm:pt modelId="{5BFA9F5E-7440-4FF1-BBEA-FC35606A7311}" type="sibTrans" cxnId="{C3232F73-232F-4077-8618-7EAB45BE6971}">
      <dgm:prSet/>
      <dgm:spPr/>
      <dgm:t>
        <a:bodyPr/>
        <a:lstStyle/>
        <a:p>
          <a:endParaRPr lang="en-US"/>
        </a:p>
      </dgm:t>
    </dgm:pt>
    <dgm:pt modelId="{040B70B1-F510-485E-B319-A30769A876E0}">
      <dgm:prSet custT="1"/>
      <dgm:spPr/>
      <dgm:t>
        <a:bodyPr/>
        <a:lstStyle/>
        <a:p>
          <a:r>
            <a:rPr lang="en-US" sz="2400" dirty="0"/>
            <a:t>Student attendance data</a:t>
          </a:r>
        </a:p>
      </dgm:t>
    </dgm:pt>
    <dgm:pt modelId="{0435F34E-3243-414F-81FF-822E323868A7}" type="parTrans" cxnId="{91DE22F1-5EED-4461-A7F1-D1EC700D13CF}">
      <dgm:prSet/>
      <dgm:spPr/>
      <dgm:t>
        <a:bodyPr/>
        <a:lstStyle/>
        <a:p>
          <a:endParaRPr lang="en-US"/>
        </a:p>
      </dgm:t>
    </dgm:pt>
    <dgm:pt modelId="{A3507769-CECC-4A83-99F6-141A72FA5A76}" type="sibTrans" cxnId="{91DE22F1-5EED-4461-A7F1-D1EC700D13CF}">
      <dgm:prSet/>
      <dgm:spPr/>
      <dgm:t>
        <a:bodyPr/>
        <a:lstStyle/>
        <a:p>
          <a:endParaRPr lang="en-US"/>
        </a:p>
      </dgm:t>
    </dgm:pt>
    <dgm:pt modelId="{71B0718A-E30C-4DD2-84CA-A2F27A4D72BC}" type="pres">
      <dgm:prSet presAssocID="{B4D99911-0C2F-43F8-8B37-D5B84D6CF8DE}" presName="vert0" presStyleCnt="0">
        <dgm:presLayoutVars>
          <dgm:dir/>
          <dgm:animOne val="branch"/>
          <dgm:animLvl val="lvl"/>
        </dgm:presLayoutVars>
      </dgm:prSet>
      <dgm:spPr/>
    </dgm:pt>
    <dgm:pt modelId="{FC116B1A-F907-4CC4-A79E-9E96DD61586D}" type="pres">
      <dgm:prSet presAssocID="{253FD290-E476-491F-B8D1-30DDCF203841}" presName="thickLine" presStyleLbl="alignNode1" presStyleIdx="0" presStyleCnt="6"/>
      <dgm:spPr/>
    </dgm:pt>
    <dgm:pt modelId="{9BDA61E9-E6EC-4BE4-9CCB-C84EF6786F22}" type="pres">
      <dgm:prSet presAssocID="{253FD290-E476-491F-B8D1-30DDCF203841}" presName="horz1" presStyleCnt="0"/>
      <dgm:spPr/>
    </dgm:pt>
    <dgm:pt modelId="{59CBFAC2-8E49-45C7-B0ED-DD63A163EEA4}" type="pres">
      <dgm:prSet presAssocID="{253FD290-E476-491F-B8D1-30DDCF203841}" presName="tx1" presStyleLbl="revTx" presStyleIdx="0" presStyleCnt="12"/>
      <dgm:spPr/>
    </dgm:pt>
    <dgm:pt modelId="{0B93B9C9-3819-4E08-808B-3BD9296E4D6F}" type="pres">
      <dgm:prSet presAssocID="{253FD290-E476-491F-B8D1-30DDCF203841}" presName="vert1" presStyleCnt="0"/>
      <dgm:spPr/>
    </dgm:pt>
    <dgm:pt modelId="{95E08958-38F4-41B7-9075-E7F5D1FDF112}" type="pres">
      <dgm:prSet presAssocID="{0EDC2164-7735-4C63-BE5A-1FB3D3B64633}" presName="vertSpace2a" presStyleCnt="0"/>
      <dgm:spPr/>
    </dgm:pt>
    <dgm:pt modelId="{11192C95-793A-4233-80DC-A3D7FC9644FF}" type="pres">
      <dgm:prSet presAssocID="{0EDC2164-7735-4C63-BE5A-1FB3D3B64633}" presName="horz2" presStyleCnt="0"/>
      <dgm:spPr/>
    </dgm:pt>
    <dgm:pt modelId="{0473032C-76F3-4347-8F23-C791455E156D}" type="pres">
      <dgm:prSet presAssocID="{0EDC2164-7735-4C63-BE5A-1FB3D3B64633}" presName="horzSpace2" presStyleCnt="0"/>
      <dgm:spPr/>
    </dgm:pt>
    <dgm:pt modelId="{5C08F936-9B89-4B6D-9495-F4B5B8EAE234}" type="pres">
      <dgm:prSet presAssocID="{0EDC2164-7735-4C63-BE5A-1FB3D3B64633}" presName="tx2" presStyleLbl="revTx" presStyleIdx="1" presStyleCnt="12" custScaleX="107827"/>
      <dgm:spPr/>
    </dgm:pt>
    <dgm:pt modelId="{32A06FE0-2E1B-4C74-A71C-74369B483051}" type="pres">
      <dgm:prSet presAssocID="{0EDC2164-7735-4C63-BE5A-1FB3D3B64633}" presName="vert2" presStyleCnt="0"/>
      <dgm:spPr/>
    </dgm:pt>
    <dgm:pt modelId="{7173D007-8D46-425F-8F0F-39878BA506C0}" type="pres">
      <dgm:prSet presAssocID="{0EDC2164-7735-4C63-BE5A-1FB3D3B64633}" presName="thinLine2b" presStyleLbl="callout" presStyleIdx="0" presStyleCnt="6"/>
      <dgm:spPr/>
    </dgm:pt>
    <dgm:pt modelId="{8D836A3A-EED9-4D94-8116-6B29990F04F2}" type="pres">
      <dgm:prSet presAssocID="{0EDC2164-7735-4C63-BE5A-1FB3D3B64633}" presName="vertSpace2b" presStyleCnt="0"/>
      <dgm:spPr/>
    </dgm:pt>
    <dgm:pt modelId="{083998BE-E53B-45B9-BA93-F444F33BE460}" type="pres">
      <dgm:prSet presAssocID="{069AB595-D2E1-4131-B82A-9224B26B4E77}" presName="thickLine" presStyleLbl="alignNode1" presStyleIdx="1" presStyleCnt="6"/>
      <dgm:spPr/>
    </dgm:pt>
    <dgm:pt modelId="{2621629C-6F65-403C-A6BF-8F0E8CBE1FA7}" type="pres">
      <dgm:prSet presAssocID="{069AB595-D2E1-4131-B82A-9224B26B4E77}" presName="horz1" presStyleCnt="0"/>
      <dgm:spPr/>
    </dgm:pt>
    <dgm:pt modelId="{908AA3D2-8C35-4447-AF4E-9632D9CB3C62}" type="pres">
      <dgm:prSet presAssocID="{069AB595-D2E1-4131-B82A-9224B26B4E77}" presName="tx1" presStyleLbl="revTx" presStyleIdx="2" presStyleCnt="12"/>
      <dgm:spPr/>
    </dgm:pt>
    <dgm:pt modelId="{84DBB208-FE7A-4485-9045-C05AC0080280}" type="pres">
      <dgm:prSet presAssocID="{069AB595-D2E1-4131-B82A-9224B26B4E77}" presName="vert1" presStyleCnt="0"/>
      <dgm:spPr/>
    </dgm:pt>
    <dgm:pt modelId="{7A7A89EF-FF6A-403F-AD9A-8733A43ABBCB}" type="pres">
      <dgm:prSet presAssocID="{A4956A94-95A4-4D38-A4DB-53DB41BB9295}" presName="vertSpace2a" presStyleCnt="0"/>
      <dgm:spPr/>
    </dgm:pt>
    <dgm:pt modelId="{D50E7E5E-E49B-44CB-9AFB-63C1119BD898}" type="pres">
      <dgm:prSet presAssocID="{A4956A94-95A4-4D38-A4DB-53DB41BB9295}" presName="horz2" presStyleCnt="0"/>
      <dgm:spPr/>
    </dgm:pt>
    <dgm:pt modelId="{D085E298-0BAA-404F-8EF3-5FFFD9160B7D}" type="pres">
      <dgm:prSet presAssocID="{A4956A94-95A4-4D38-A4DB-53DB41BB9295}" presName="horzSpace2" presStyleCnt="0"/>
      <dgm:spPr/>
    </dgm:pt>
    <dgm:pt modelId="{3266BF17-4F66-4BB7-925B-CFC5A250BAF6}" type="pres">
      <dgm:prSet presAssocID="{A4956A94-95A4-4D38-A4DB-53DB41BB9295}" presName="tx2" presStyleLbl="revTx" presStyleIdx="3" presStyleCnt="12" custScaleX="107827"/>
      <dgm:spPr/>
    </dgm:pt>
    <dgm:pt modelId="{BDD85C50-93F7-43BF-92F5-00863B6A2966}" type="pres">
      <dgm:prSet presAssocID="{A4956A94-95A4-4D38-A4DB-53DB41BB9295}" presName="vert2" presStyleCnt="0"/>
      <dgm:spPr/>
    </dgm:pt>
    <dgm:pt modelId="{D3A74726-65BB-4D7C-8CBA-DF852A82A1A6}" type="pres">
      <dgm:prSet presAssocID="{A4956A94-95A4-4D38-A4DB-53DB41BB9295}" presName="thinLine2b" presStyleLbl="callout" presStyleIdx="1" presStyleCnt="6"/>
      <dgm:spPr/>
    </dgm:pt>
    <dgm:pt modelId="{C10BE3E3-5DAA-48E6-8FF5-F851417E777E}" type="pres">
      <dgm:prSet presAssocID="{A4956A94-95A4-4D38-A4DB-53DB41BB9295}" presName="vertSpace2b" presStyleCnt="0"/>
      <dgm:spPr/>
    </dgm:pt>
    <dgm:pt modelId="{B6F21808-95A1-468E-A922-F0EE6627DE0A}" type="pres">
      <dgm:prSet presAssocID="{65638101-DA8E-4ECB-A1DD-37B3C30C12A7}" presName="thickLine" presStyleLbl="alignNode1" presStyleIdx="2" presStyleCnt="6"/>
      <dgm:spPr/>
    </dgm:pt>
    <dgm:pt modelId="{D03E787F-D480-4C51-90A0-348E3C38FE54}" type="pres">
      <dgm:prSet presAssocID="{65638101-DA8E-4ECB-A1DD-37B3C30C12A7}" presName="horz1" presStyleCnt="0"/>
      <dgm:spPr/>
    </dgm:pt>
    <dgm:pt modelId="{372A72F2-9CC1-4D16-B5B9-CA3838D88F15}" type="pres">
      <dgm:prSet presAssocID="{65638101-DA8E-4ECB-A1DD-37B3C30C12A7}" presName="tx1" presStyleLbl="revTx" presStyleIdx="4" presStyleCnt="12"/>
      <dgm:spPr/>
    </dgm:pt>
    <dgm:pt modelId="{E72ED693-28FE-44C6-AC2A-7E294A76DF0B}" type="pres">
      <dgm:prSet presAssocID="{65638101-DA8E-4ECB-A1DD-37B3C30C12A7}" presName="vert1" presStyleCnt="0"/>
      <dgm:spPr/>
    </dgm:pt>
    <dgm:pt modelId="{8543387D-E56D-454B-AE98-D0F4BF9BE07D}" type="pres">
      <dgm:prSet presAssocID="{9B5D0BFA-4AE3-48C1-9B5C-7947A1CDAFD8}" presName="vertSpace2a" presStyleCnt="0"/>
      <dgm:spPr/>
    </dgm:pt>
    <dgm:pt modelId="{E53CCEAF-C356-4BE6-8893-EDEDDDB32CB9}" type="pres">
      <dgm:prSet presAssocID="{9B5D0BFA-4AE3-48C1-9B5C-7947A1CDAFD8}" presName="horz2" presStyleCnt="0"/>
      <dgm:spPr/>
    </dgm:pt>
    <dgm:pt modelId="{900CC980-8B46-4B8B-88E4-F9410FFECD85}" type="pres">
      <dgm:prSet presAssocID="{9B5D0BFA-4AE3-48C1-9B5C-7947A1CDAFD8}" presName="horzSpace2" presStyleCnt="0"/>
      <dgm:spPr/>
    </dgm:pt>
    <dgm:pt modelId="{60F3791A-2330-48B2-8908-A9F47A5B80C2}" type="pres">
      <dgm:prSet presAssocID="{9B5D0BFA-4AE3-48C1-9B5C-7947A1CDAFD8}" presName="tx2" presStyleLbl="revTx" presStyleIdx="5" presStyleCnt="12" custScaleX="107827"/>
      <dgm:spPr/>
    </dgm:pt>
    <dgm:pt modelId="{D4D24339-87E8-4A06-82A4-6C1F41A7E171}" type="pres">
      <dgm:prSet presAssocID="{9B5D0BFA-4AE3-48C1-9B5C-7947A1CDAFD8}" presName="vert2" presStyleCnt="0"/>
      <dgm:spPr/>
    </dgm:pt>
    <dgm:pt modelId="{32527A27-1126-43DF-ACF9-A2355400D96A}" type="pres">
      <dgm:prSet presAssocID="{9B5D0BFA-4AE3-48C1-9B5C-7947A1CDAFD8}" presName="thinLine2b" presStyleLbl="callout" presStyleIdx="2" presStyleCnt="6"/>
      <dgm:spPr/>
    </dgm:pt>
    <dgm:pt modelId="{0D2C2F64-F98A-45EA-8F3F-02DF42134224}" type="pres">
      <dgm:prSet presAssocID="{9B5D0BFA-4AE3-48C1-9B5C-7947A1CDAFD8}" presName="vertSpace2b" presStyleCnt="0"/>
      <dgm:spPr/>
    </dgm:pt>
    <dgm:pt modelId="{7F5F788B-7EA1-4C83-8C71-C987DCC2BFEB}" type="pres">
      <dgm:prSet presAssocID="{D50D93A5-B441-439C-82B4-93D34BD13F0A}" presName="thickLine" presStyleLbl="alignNode1" presStyleIdx="3" presStyleCnt="6"/>
      <dgm:spPr/>
    </dgm:pt>
    <dgm:pt modelId="{5983CA4A-FA9C-4510-AA6D-E0B924328F18}" type="pres">
      <dgm:prSet presAssocID="{D50D93A5-B441-439C-82B4-93D34BD13F0A}" presName="horz1" presStyleCnt="0"/>
      <dgm:spPr/>
    </dgm:pt>
    <dgm:pt modelId="{087B7962-8D2E-4063-A8FA-B985C2AEC481}" type="pres">
      <dgm:prSet presAssocID="{D50D93A5-B441-439C-82B4-93D34BD13F0A}" presName="tx1" presStyleLbl="revTx" presStyleIdx="6" presStyleCnt="12"/>
      <dgm:spPr/>
    </dgm:pt>
    <dgm:pt modelId="{647CC1B5-9E4D-4059-91BD-CE5552BAC5A8}" type="pres">
      <dgm:prSet presAssocID="{D50D93A5-B441-439C-82B4-93D34BD13F0A}" presName="vert1" presStyleCnt="0"/>
      <dgm:spPr/>
    </dgm:pt>
    <dgm:pt modelId="{965DE484-BBDF-4ACD-B5B1-D9A1D737B1BA}" type="pres">
      <dgm:prSet presAssocID="{16155284-13A3-4475-8A14-4DE12EA24BC4}" presName="vertSpace2a" presStyleCnt="0"/>
      <dgm:spPr/>
    </dgm:pt>
    <dgm:pt modelId="{F97B49DF-EAE0-4F74-9A7F-7D8685BE2D63}" type="pres">
      <dgm:prSet presAssocID="{16155284-13A3-4475-8A14-4DE12EA24BC4}" presName="horz2" presStyleCnt="0"/>
      <dgm:spPr/>
    </dgm:pt>
    <dgm:pt modelId="{D1358D9D-A620-4C1E-8CCC-BABBF1481DB3}" type="pres">
      <dgm:prSet presAssocID="{16155284-13A3-4475-8A14-4DE12EA24BC4}" presName="horzSpace2" presStyleCnt="0"/>
      <dgm:spPr/>
    </dgm:pt>
    <dgm:pt modelId="{B2F173E9-4EAC-4086-A485-A703BDD2CBEC}" type="pres">
      <dgm:prSet presAssocID="{16155284-13A3-4475-8A14-4DE12EA24BC4}" presName="tx2" presStyleLbl="revTx" presStyleIdx="7" presStyleCnt="12" custScaleX="107827"/>
      <dgm:spPr/>
    </dgm:pt>
    <dgm:pt modelId="{BAAF331E-CCA4-4059-9FDB-023865BE4B4E}" type="pres">
      <dgm:prSet presAssocID="{16155284-13A3-4475-8A14-4DE12EA24BC4}" presName="vert2" presStyleCnt="0"/>
      <dgm:spPr/>
    </dgm:pt>
    <dgm:pt modelId="{929F2312-2D7C-4689-A72B-B1D9C982B74F}" type="pres">
      <dgm:prSet presAssocID="{16155284-13A3-4475-8A14-4DE12EA24BC4}" presName="thinLine2b" presStyleLbl="callout" presStyleIdx="3" presStyleCnt="6"/>
      <dgm:spPr/>
    </dgm:pt>
    <dgm:pt modelId="{AE1789B9-C782-478D-883C-D312FB0155AB}" type="pres">
      <dgm:prSet presAssocID="{16155284-13A3-4475-8A14-4DE12EA24BC4}" presName="vertSpace2b" presStyleCnt="0"/>
      <dgm:spPr/>
    </dgm:pt>
    <dgm:pt modelId="{CB12A1A4-2DE7-40BA-B051-24F72025E2EE}" type="pres">
      <dgm:prSet presAssocID="{90E7E2D6-6709-45C4-86E0-01AE5D931331}" presName="thickLine" presStyleLbl="alignNode1" presStyleIdx="4" presStyleCnt="6"/>
      <dgm:spPr/>
    </dgm:pt>
    <dgm:pt modelId="{FE9B6F88-F545-482C-B37F-50E0EA870BB8}" type="pres">
      <dgm:prSet presAssocID="{90E7E2D6-6709-45C4-86E0-01AE5D931331}" presName="horz1" presStyleCnt="0"/>
      <dgm:spPr/>
    </dgm:pt>
    <dgm:pt modelId="{4B654F27-78BD-4139-A81E-4A79ED0B987C}" type="pres">
      <dgm:prSet presAssocID="{90E7E2D6-6709-45C4-86E0-01AE5D931331}" presName="tx1" presStyleLbl="revTx" presStyleIdx="8" presStyleCnt="12"/>
      <dgm:spPr/>
    </dgm:pt>
    <dgm:pt modelId="{463DF4F2-A23E-4A0A-9B9D-E217A04003DE}" type="pres">
      <dgm:prSet presAssocID="{90E7E2D6-6709-45C4-86E0-01AE5D931331}" presName="vert1" presStyleCnt="0"/>
      <dgm:spPr/>
    </dgm:pt>
    <dgm:pt modelId="{DE44674E-98BF-4CF3-86FE-22A57F67DE87}" type="pres">
      <dgm:prSet presAssocID="{62BD05A8-89CE-4ABD-93DA-DA21CAD3483D}" presName="vertSpace2a" presStyleCnt="0"/>
      <dgm:spPr/>
    </dgm:pt>
    <dgm:pt modelId="{B386F44B-7928-42DE-9A17-1DD1311841C0}" type="pres">
      <dgm:prSet presAssocID="{62BD05A8-89CE-4ABD-93DA-DA21CAD3483D}" presName="horz2" presStyleCnt="0"/>
      <dgm:spPr/>
    </dgm:pt>
    <dgm:pt modelId="{6C5ECC75-9516-483E-BC48-5BDBAEB52891}" type="pres">
      <dgm:prSet presAssocID="{62BD05A8-89CE-4ABD-93DA-DA21CAD3483D}" presName="horzSpace2" presStyleCnt="0"/>
      <dgm:spPr/>
    </dgm:pt>
    <dgm:pt modelId="{D54A0B9F-3024-4A10-A47C-3C94C40E1D31}" type="pres">
      <dgm:prSet presAssocID="{62BD05A8-89CE-4ABD-93DA-DA21CAD3483D}" presName="tx2" presStyleLbl="revTx" presStyleIdx="9" presStyleCnt="12" custScaleX="107827"/>
      <dgm:spPr/>
    </dgm:pt>
    <dgm:pt modelId="{C3125888-A402-4F75-B26F-B4D2F197B0A1}" type="pres">
      <dgm:prSet presAssocID="{62BD05A8-89CE-4ABD-93DA-DA21CAD3483D}" presName="vert2" presStyleCnt="0"/>
      <dgm:spPr/>
    </dgm:pt>
    <dgm:pt modelId="{0C4365BA-32AD-4D45-B4F3-7644D1A38F44}" type="pres">
      <dgm:prSet presAssocID="{62BD05A8-89CE-4ABD-93DA-DA21CAD3483D}" presName="thinLine2b" presStyleLbl="callout" presStyleIdx="4" presStyleCnt="6"/>
      <dgm:spPr/>
    </dgm:pt>
    <dgm:pt modelId="{31D08FAE-4F3E-4D89-8385-B8BE91C6137C}" type="pres">
      <dgm:prSet presAssocID="{62BD05A8-89CE-4ABD-93DA-DA21CAD3483D}" presName="vertSpace2b" presStyleCnt="0"/>
      <dgm:spPr/>
    </dgm:pt>
    <dgm:pt modelId="{EDE2A60B-502D-4D1A-8E9D-09D86BB5AE1A}" type="pres">
      <dgm:prSet presAssocID="{5346E1A4-B797-43E9-BE16-618ECAB1E0F8}" presName="thickLine" presStyleLbl="alignNode1" presStyleIdx="5" presStyleCnt="6"/>
      <dgm:spPr/>
    </dgm:pt>
    <dgm:pt modelId="{FFE1FD6E-A22B-469A-AE4B-37D662C69786}" type="pres">
      <dgm:prSet presAssocID="{5346E1A4-B797-43E9-BE16-618ECAB1E0F8}" presName="horz1" presStyleCnt="0"/>
      <dgm:spPr/>
    </dgm:pt>
    <dgm:pt modelId="{56A1596C-6160-483A-BAE8-13E99A84BA00}" type="pres">
      <dgm:prSet presAssocID="{5346E1A4-B797-43E9-BE16-618ECAB1E0F8}" presName="tx1" presStyleLbl="revTx" presStyleIdx="10" presStyleCnt="12"/>
      <dgm:spPr/>
    </dgm:pt>
    <dgm:pt modelId="{5670F553-E702-4904-B13F-FDDC31B129FC}" type="pres">
      <dgm:prSet presAssocID="{5346E1A4-B797-43E9-BE16-618ECAB1E0F8}" presName="vert1" presStyleCnt="0"/>
      <dgm:spPr/>
    </dgm:pt>
    <dgm:pt modelId="{AB023FE5-DACE-4223-8272-D77BBD9A4F74}" type="pres">
      <dgm:prSet presAssocID="{040B70B1-F510-485E-B319-A30769A876E0}" presName="vertSpace2a" presStyleCnt="0"/>
      <dgm:spPr/>
    </dgm:pt>
    <dgm:pt modelId="{BDA35957-8FC9-45D4-838C-1ED3E55EAED3}" type="pres">
      <dgm:prSet presAssocID="{040B70B1-F510-485E-B319-A30769A876E0}" presName="horz2" presStyleCnt="0"/>
      <dgm:spPr/>
    </dgm:pt>
    <dgm:pt modelId="{B26826C4-C9D2-4801-8280-FF5BEBC30B40}" type="pres">
      <dgm:prSet presAssocID="{040B70B1-F510-485E-B319-A30769A876E0}" presName="horzSpace2" presStyleCnt="0"/>
      <dgm:spPr/>
    </dgm:pt>
    <dgm:pt modelId="{4143D053-8B91-49D9-8621-692A005A8018}" type="pres">
      <dgm:prSet presAssocID="{040B70B1-F510-485E-B319-A30769A876E0}" presName="tx2" presStyleLbl="revTx" presStyleIdx="11" presStyleCnt="12" custScaleX="107827"/>
      <dgm:spPr/>
    </dgm:pt>
    <dgm:pt modelId="{C10BC84C-6B48-4C10-B4A0-721AA923D4F6}" type="pres">
      <dgm:prSet presAssocID="{040B70B1-F510-485E-B319-A30769A876E0}" presName="vert2" presStyleCnt="0"/>
      <dgm:spPr/>
    </dgm:pt>
    <dgm:pt modelId="{B0391703-7F80-498C-B172-47CDCC58B6B7}" type="pres">
      <dgm:prSet presAssocID="{040B70B1-F510-485E-B319-A30769A876E0}" presName="thinLine2b" presStyleLbl="callout" presStyleIdx="5" presStyleCnt="6"/>
      <dgm:spPr/>
    </dgm:pt>
    <dgm:pt modelId="{DAB6892D-A0BF-4FCD-AE2D-80C2A7AEB87E}" type="pres">
      <dgm:prSet presAssocID="{040B70B1-F510-485E-B319-A30769A876E0}" presName="vertSpace2b" presStyleCnt="0"/>
      <dgm:spPr/>
    </dgm:pt>
  </dgm:ptLst>
  <dgm:cxnLst>
    <dgm:cxn modelId="{9E326101-514E-4FC5-BEEC-40FFDB283DF3}" srcId="{90E7E2D6-6709-45C4-86E0-01AE5D931331}" destId="{62BD05A8-89CE-4ABD-93DA-DA21CAD3483D}" srcOrd="0" destOrd="0" parTransId="{C3C134FF-3666-402A-AA17-23EE9B963556}" sibTransId="{A4450984-0D2D-4F35-81C6-9031A2D9E675}"/>
    <dgm:cxn modelId="{87C74D1A-6154-4A61-B08D-B3AE813931DB}" type="presOf" srcId="{B4D99911-0C2F-43F8-8B37-D5B84D6CF8DE}" destId="{71B0718A-E30C-4DD2-84CA-A2F27A4D72BC}" srcOrd="0" destOrd="0" presId="urn:microsoft.com/office/officeart/2008/layout/LinedList"/>
    <dgm:cxn modelId="{C8CA302C-B1EC-498C-A410-1A42C8877703}" type="presOf" srcId="{D50D93A5-B441-439C-82B4-93D34BD13F0A}" destId="{087B7962-8D2E-4063-A8FA-B985C2AEC481}" srcOrd="0" destOrd="0" presId="urn:microsoft.com/office/officeart/2008/layout/LinedList"/>
    <dgm:cxn modelId="{51FC982C-6022-49BC-9242-DA48B99BD022}" srcId="{B4D99911-0C2F-43F8-8B37-D5B84D6CF8DE}" destId="{D50D93A5-B441-439C-82B4-93D34BD13F0A}" srcOrd="3" destOrd="0" parTransId="{A96BBB34-EE8B-43DA-9917-DEC9ED8E056C}" sibTransId="{BBC972B8-5B08-4A76-B870-B3859D828019}"/>
    <dgm:cxn modelId="{5C0B243B-D06C-4248-9A34-A75EB2CD492D}" type="presOf" srcId="{65638101-DA8E-4ECB-A1DD-37B3C30C12A7}" destId="{372A72F2-9CC1-4D16-B5B9-CA3838D88F15}" srcOrd="0" destOrd="0" presId="urn:microsoft.com/office/officeart/2008/layout/LinedList"/>
    <dgm:cxn modelId="{B1E6D343-32B3-4CC7-8AE1-F980F68B962F}" srcId="{253FD290-E476-491F-B8D1-30DDCF203841}" destId="{0EDC2164-7735-4C63-BE5A-1FB3D3B64633}" srcOrd="0" destOrd="0" parTransId="{A3416DCC-417D-4BF5-852A-9938A6A7E50F}" sibTransId="{76CF456E-48B7-4D02-9EE8-04A3AA53947B}"/>
    <dgm:cxn modelId="{DEBB8C6B-F636-406E-AD1F-85B5B19EB3DE}" type="presOf" srcId="{040B70B1-F510-485E-B319-A30769A876E0}" destId="{4143D053-8B91-49D9-8621-692A005A8018}" srcOrd="0" destOrd="0" presId="urn:microsoft.com/office/officeart/2008/layout/LinedList"/>
    <dgm:cxn modelId="{58CA1772-E0F4-415D-8826-CCE82EB317F2}" srcId="{D50D93A5-B441-439C-82B4-93D34BD13F0A}" destId="{16155284-13A3-4475-8A14-4DE12EA24BC4}" srcOrd="0" destOrd="0" parTransId="{34EAE412-E792-4798-BD51-EE0DA319CE6B}" sibTransId="{D2843E2C-5371-4B0A-BBBC-5ADC9BA99CDE}"/>
    <dgm:cxn modelId="{C3232F73-232F-4077-8618-7EAB45BE6971}" srcId="{B4D99911-0C2F-43F8-8B37-D5B84D6CF8DE}" destId="{5346E1A4-B797-43E9-BE16-618ECAB1E0F8}" srcOrd="5" destOrd="0" parTransId="{BA2AB94A-798F-4B6B-948D-DE09A9625A59}" sibTransId="{5BFA9F5E-7440-4FF1-BBEA-FC35606A7311}"/>
    <dgm:cxn modelId="{AC6D0E55-EA9E-4FBB-B845-54C93723E630}" type="presOf" srcId="{5346E1A4-B797-43E9-BE16-618ECAB1E0F8}" destId="{56A1596C-6160-483A-BAE8-13E99A84BA00}" srcOrd="0" destOrd="0" presId="urn:microsoft.com/office/officeart/2008/layout/LinedList"/>
    <dgm:cxn modelId="{6496417B-544C-4506-9336-C3030AC41338}" srcId="{B4D99911-0C2F-43F8-8B37-D5B84D6CF8DE}" destId="{069AB595-D2E1-4131-B82A-9224B26B4E77}" srcOrd="1" destOrd="0" parTransId="{5719C7F1-A070-4BF7-8129-497A6FC45330}" sibTransId="{D3D38D6B-685C-4D6D-83E7-187061FA4B1C}"/>
    <dgm:cxn modelId="{A60D5B80-F2D5-4144-B4C0-940A9DD948E5}" type="presOf" srcId="{069AB595-D2E1-4131-B82A-9224B26B4E77}" destId="{908AA3D2-8C35-4447-AF4E-9632D9CB3C62}" srcOrd="0" destOrd="0" presId="urn:microsoft.com/office/officeart/2008/layout/LinedList"/>
    <dgm:cxn modelId="{E416498D-4806-49A9-9764-7DAA7728652A}" srcId="{B4D99911-0C2F-43F8-8B37-D5B84D6CF8DE}" destId="{65638101-DA8E-4ECB-A1DD-37B3C30C12A7}" srcOrd="2" destOrd="0" parTransId="{51625360-DC7F-4516-8D30-F9C394E5CBF7}" sibTransId="{B0119480-37A4-4235-A6B0-6A8227CE6024}"/>
    <dgm:cxn modelId="{35A44AAA-4B16-499D-873F-36507F49D2BD}" type="presOf" srcId="{A4956A94-95A4-4D38-A4DB-53DB41BB9295}" destId="{3266BF17-4F66-4BB7-925B-CFC5A250BAF6}" srcOrd="0" destOrd="0" presId="urn:microsoft.com/office/officeart/2008/layout/LinedList"/>
    <dgm:cxn modelId="{AA817EBB-EDC5-4469-BD95-8D9EDF133130}" srcId="{65638101-DA8E-4ECB-A1DD-37B3C30C12A7}" destId="{9B5D0BFA-4AE3-48C1-9B5C-7947A1CDAFD8}" srcOrd="0" destOrd="0" parTransId="{447A5340-CE61-4E77-B2FF-DEBF280C1736}" sibTransId="{B6C7150C-0C15-459E-97C5-3570FF683501}"/>
    <dgm:cxn modelId="{1183F5BE-C292-4E50-B031-0965E392FAA2}" srcId="{B4D99911-0C2F-43F8-8B37-D5B84D6CF8DE}" destId="{253FD290-E476-491F-B8D1-30DDCF203841}" srcOrd="0" destOrd="0" parTransId="{FC8EBFC1-773F-4471-9FB2-3729D657E223}" sibTransId="{7F72DED9-2E09-4306-840A-80A401EAE110}"/>
    <dgm:cxn modelId="{2FB116C0-8C96-43D8-950F-D899FDD023C0}" type="presOf" srcId="{253FD290-E476-491F-B8D1-30DDCF203841}" destId="{59CBFAC2-8E49-45C7-B0ED-DD63A163EEA4}" srcOrd="0" destOrd="0" presId="urn:microsoft.com/office/officeart/2008/layout/LinedList"/>
    <dgm:cxn modelId="{46CB9DC7-6BDE-45CE-8DAE-DB153DA5A45F}" type="presOf" srcId="{90E7E2D6-6709-45C4-86E0-01AE5D931331}" destId="{4B654F27-78BD-4139-A81E-4A79ED0B987C}" srcOrd="0" destOrd="0" presId="urn:microsoft.com/office/officeart/2008/layout/LinedList"/>
    <dgm:cxn modelId="{111A72C8-CDF5-446E-8150-05F98BEBC2B2}" type="presOf" srcId="{62BD05A8-89CE-4ABD-93DA-DA21CAD3483D}" destId="{D54A0B9F-3024-4A10-A47C-3C94C40E1D31}" srcOrd="0" destOrd="0" presId="urn:microsoft.com/office/officeart/2008/layout/LinedList"/>
    <dgm:cxn modelId="{AD0DB2C8-FA67-4A1F-A1F4-1E15D3501BB9}" type="presOf" srcId="{0EDC2164-7735-4C63-BE5A-1FB3D3B64633}" destId="{5C08F936-9B89-4B6D-9495-F4B5B8EAE234}" srcOrd="0" destOrd="0" presId="urn:microsoft.com/office/officeart/2008/layout/LinedList"/>
    <dgm:cxn modelId="{70F572C9-F38F-472D-8689-3E41FED48B29}" type="presOf" srcId="{9B5D0BFA-4AE3-48C1-9B5C-7947A1CDAFD8}" destId="{60F3791A-2330-48B2-8908-A9F47A5B80C2}" srcOrd="0" destOrd="0" presId="urn:microsoft.com/office/officeart/2008/layout/LinedList"/>
    <dgm:cxn modelId="{54129FE3-312B-4EE3-82D5-9A5CBA63DAF2}" type="presOf" srcId="{16155284-13A3-4475-8A14-4DE12EA24BC4}" destId="{B2F173E9-4EAC-4086-A485-A703BDD2CBEC}" srcOrd="0" destOrd="0" presId="urn:microsoft.com/office/officeart/2008/layout/LinedList"/>
    <dgm:cxn modelId="{768B3FEF-2907-465E-ADF4-0E690C0C0DBE}" srcId="{069AB595-D2E1-4131-B82A-9224B26B4E77}" destId="{A4956A94-95A4-4D38-A4DB-53DB41BB9295}" srcOrd="0" destOrd="0" parTransId="{76DB8420-E79C-4E63-B938-BCA8F2734200}" sibTransId="{37C9006B-A065-42D9-984C-05B2C5F16E2D}"/>
    <dgm:cxn modelId="{91DE22F1-5EED-4461-A7F1-D1EC700D13CF}" srcId="{5346E1A4-B797-43E9-BE16-618ECAB1E0F8}" destId="{040B70B1-F510-485E-B319-A30769A876E0}" srcOrd="0" destOrd="0" parTransId="{0435F34E-3243-414F-81FF-822E323868A7}" sibTransId="{A3507769-CECC-4A83-99F6-141A72FA5A76}"/>
    <dgm:cxn modelId="{284ACAF5-6E8A-4D33-A705-3174C3FAB080}" srcId="{B4D99911-0C2F-43F8-8B37-D5B84D6CF8DE}" destId="{90E7E2D6-6709-45C4-86E0-01AE5D931331}" srcOrd="4" destOrd="0" parTransId="{7509F7A8-A783-4457-843B-F707C34D76D0}" sibTransId="{8DB15AE0-AD24-4A86-812E-755B92FE0C83}"/>
    <dgm:cxn modelId="{5AD061D1-CD0D-4572-91D8-36F8318CD4E8}" type="presParOf" srcId="{71B0718A-E30C-4DD2-84CA-A2F27A4D72BC}" destId="{FC116B1A-F907-4CC4-A79E-9E96DD61586D}" srcOrd="0" destOrd="0" presId="urn:microsoft.com/office/officeart/2008/layout/LinedList"/>
    <dgm:cxn modelId="{65CCD7D3-F865-4A20-BEA7-15C0B1AC3F76}" type="presParOf" srcId="{71B0718A-E30C-4DD2-84CA-A2F27A4D72BC}" destId="{9BDA61E9-E6EC-4BE4-9CCB-C84EF6786F22}" srcOrd="1" destOrd="0" presId="urn:microsoft.com/office/officeart/2008/layout/LinedList"/>
    <dgm:cxn modelId="{B6DB52AF-95E2-44B6-9304-A1186FF99502}" type="presParOf" srcId="{9BDA61E9-E6EC-4BE4-9CCB-C84EF6786F22}" destId="{59CBFAC2-8E49-45C7-B0ED-DD63A163EEA4}" srcOrd="0" destOrd="0" presId="urn:microsoft.com/office/officeart/2008/layout/LinedList"/>
    <dgm:cxn modelId="{5C26AE6F-8105-443F-A3DF-E4ED72455E17}" type="presParOf" srcId="{9BDA61E9-E6EC-4BE4-9CCB-C84EF6786F22}" destId="{0B93B9C9-3819-4E08-808B-3BD9296E4D6F}" srcOrd="1" destOrd="0" presId="urn:microsoft.com/office/officeart/2008/layout/LinedList"/>
    <dgm:cxn modelId="{A3CE0BF9-EAF5-45BD-8595-07E4D36AF865}" type="presParOf" srcId="{0B93B9C9-3819-4E08-808B-3BD9296E4D6F}" destId="{95E08958-38F4-41B7-9075-E7F5D1FDF112}" srcOrd="0" destOrd="0" presId="urn:microsoft.com/office/officeart/2008/layout/LinedList"/>
    <dgm:cxn modelId="{39A592F1-B9E5-407D-9433-E3A86D19AACC}" type="presParOf" srcId="{0B93B9C9-3819-4E08-808B-3BD9296E4D6F}" destId="{11192C95-793A-4233-80DC-A3D7FC9644FF}" srcOrd="1" destOrd="0" presId="urn:microsoft.com/office/officeart/2008/layout/LinedList"/>
    <dgm:cxn modelId="{D8880853-9D23-4ED4-8E25-12B652A8F80D}" type="presParOf" srcId="{11192C95-793A-4233-80DC-A3D7FC9644FF}" destId="{0473032C-76F3-4347-8F23-C791455E156D}" srcOrd="0" destOrd="0" presId="urn:microsoft.com/office/officeart/2008/layout/LinedList"/>
    <dgm:cxn modelId="{8FFEABCD-7235-4DBB-8E3D-48061D824EF1}" type="presParOf" srcId="{11192C95-793A-4233-80DC-A3D7FC9644FF}" destId="{5C08F936-9B89-4B6D-9495-F4B5B8EAE234}" srcOrd="1" destOrd="0" presId="urn:microsoft.com/office/officeart/2008/layout/LinedList"/>
    <dgm:cxn modelId="{30D90B61-3372-4ABC-B34E-C89496720B91}" type="presParOf" srcId="{11192C95-793A-4233-80DC-A3D7FC9644FF}" destId="{32A06FE0-2E1B-4C74-A71C-74369B483051}" srcOrd="2" destOrd="0" presId="urn:microsoft.com/office/officeart/2008/layout/LinedList"/>
    <dgm:cxn modelId="{2F6C20E1-7D65-4A51-9ACF-993565430739}" type="presParOf" srcId="{0B93B9C9-3819-4E08-808B-3BD9296E4D6F}" destId="{7173D007-8D46-425F-8F0F-39878BA506C0}" srcOrd="2" destOrd="0" presId="urn:microsoft.com/office/officeart/2008/layout/LinedList"/>
    <dgm:cxn modelId="{AB14C52D-E2BE-4D2E-A440-9D9732CC1696}" type="presParOf" srcId="{0B93B9C9-3819-4E08-808B-3BD9296E4D6F}" destId="{8D836A3A-EED9-4D94-8116-6B29990F04F2}" srcOrd="3" destOrd="0" presId="urn:microsoft.com/office/officeart/2008/layout/LinedList"/>
    <dgm:cxn modelId="{66FB2203-35F8-40EC-B4B2-F413A43C85BF}" type="presParOf" srcId="{71B0718A-E30C-4DD2-84CA-A2F27A4D72BC}" destId="{083998BE-E53B-45B9-BA93-F444F33BE460}" srcOrd="2" destOrd="0" presId="urn:microsoft.com/office/officeart/2008/layout/LinedList"/>
    <dgm:cxn modelId="{66155FB0-C642-4273-A8A4-4EC6FE5A5A52}" type="presParOf" srcId="{71B0718A-E30C-4DD2-84CA-A2F27A4D72BC}" destId="{2621629C-6F65-403C-A6BF-8F0E8CBE1FA7}" srcOrd="3" destOrd="0" presId="urn:microsoft.com/office/officeart/2008/layout/LinedList"/>
    <dgm:cxn modelId="{334A6F1C-3ECE-4DCE-BACA-7F822C62F964}" type="presParOf" srcId="{2621629C-6F65-403C-A6BF-8F0E8CBE1FA7}" destId="{908AA3D2-8C35-4447-AF4E-9632D9CB3C62}" srcOrd="0" destOrd="0" presId="urn:microsoft.com/office/officeart/2008/layout/LinedList"/>
    <dgm:cxn modelId="{FB34436B-F634-4F7F-9A7C-A5EB6A5FB9BE}" type="presParOf" srcId="{2621629C-6F65-403C-A6BF-8F0E8CBE1FA7}" destId="{84DBB208-FE7A-4485-9045-C05AC0080280}" srcOrd="1" destOrd="0" presId="urn:microsoft.com/office/officeart/2008/layout/LinedList"/>
    <dgm:cxn modelId="{CCB8CF13-527A-492F-B3DD-80E012698DDC}" type="presParOf" srcId="{84DBB208-FE7A-4485-9045-C05AC0080280}" destId="{7A7A89EF-FF6A-403F-AD9A-8733A43ABBCB}" srcOrd="0" destOrd="0" presId="urn:microsoft.com/office/officeart/2008/layout/LinedList"/>
    <dgm:cxn modelId="{60372BEB-DD6A-4504-B3A3-7F7766B69B52}" type="presParOf" srcId="{84DBB208-FE7A-4485-9045-C05AC0080280}" destId="{D50E7E5E-E49B-44CB-9AFB-63C1119BD898}" srcOrd="1" destOrd="0" presId="urn:microsoft.com/office/officeart/2008/layout/LinedList"/>
    <dgm:cxn modelId="{6D9F05EF-A26A-468D-ADE3-2B629DD23CC4}" type="presParOf" srcId="{D50E7E5E-E49B-44CB-9AFB-63C1119BD898}" destId="{D085E298-0BAA-404F-8EF3-5FFFD9160B7D}" srcOrd="0" destOrd="0" presId="urn:microsoft.com/office/officeart/2008/layout/LinedList"/>
    <dgm:cxn modelId="{ECD76B4D-555C-415C-9354-BCCBDADF326A}" type="presParOf" srcId="{D50E7E5E-E49B-44CB-9AFB-63C1119BD898}" destId="{3266BF17-4F66-4BB7-925B-CFC5A250BAF6}" srcOrd="1" destOrd="0" presId="urn:microsoft.com/office/officeart/2008/layout/LinedList"/>
    <dgm:cxn modelId="{05000DC1-8303-4A85-AA07-C8B81EE2B00E}" type="presParOf" srcId="{D50E7E5E-E49B-44CB-9AFB-63C1119BD898}" destId="{BDD85C50-93F7-43BF-92F5-00863B6A2966}" srcOrd="2" destOrd="0" presId="urn:microsoft.com/office/officeart/2008/layout/LinedList"/>
    <dgm:cxn modelId="{A07093A4-D476-4BAC-B1A8-0AEE2DA859D9}" type="presParOf" srcId="{84DBB208-FE7A-4485-9045-C05AC0080280}" destId="{D3A74726-65BB-4D7C-8CBA-DF852A82A1A6}" srcOrd="2" destOrd="0" presId="urn:microsoft.com/office/officeart/2008/layout/LinedList"/>
    <dgm:cxn modelId="{DBB0F7D1-89E8-40B0-BB17-D758EBB052C3}" type="presParOf" srcId="{84DBB208-FE7A-4485-9045-C05AC0080280}" destId="{C10BE3E3-5DAA-48E6-8FF5-F851417E777E}" srcOrd="3" destOrd="0" presId="urn:microsoft.com/office/officeart/2008/layout/LinedList"/>
    <dgm:cxn modelId="{6F127C94-C168-4F26-9E1D-3D112045E438}" type="presParOf" srcId="{71B0718A-E30C-4DD2-84CA-A2F27A4D72BC}" destId="{B6F21808-95A1-468E-A922-F0EE6627DE0A}" srcOrd="4" destOrd="0" presId="urn:microsoft.com/office/officeart/2008/layout/LinedList"/>
    <dgm:cxn modelId="{9A2F7CC8-9E21-4666-9636-E6EF1098FF74}" type="presParOf" srcId="{71B0718A-E30C-4DD2-84CA-A2F27A4D72BC}" destId="{D03E787F-D480-4C51-90A0-348E3C38FE54}" srcOrd="5" destOrd="0" presId="urn:microsoft.com/office/officeart/2008/layout/LinedList"/>
    <dgm:cxn modelId="{36DB5FA8-EAE6-46ED-91BD-CBC1E525043E}" type="presParOf" srcId="{D03E787F-D480-4C51-90A0-348E3C38FE54}" destId="{372A72F2-9CC1-4D16-B5B9-CA3838D88F15}" srcOrd="0" destOrd="0" presId="urn:microsoft.com/office/officeart/2008/layout/LinedList"/>
    <dgm:cxn modelId="{DCB40F18-9237-4CAA-8219-56430A8F5AD7}" type="presParOf" srcId="{D03E787F-D480-4C51-90A0-348E3C38FE54}" destId="{E72ED693-28FE-44C6-AC2A-7E294A76DF0B}" srcOrd="1" destOrd="0" presId="urn:microsoft.com/office/officeart/2008/layout/LinedList"/>
    <dgm:cxn modelId="{D200CD30-C7D7-4F5C-87EB-D2E2EB86E3B4}" type="presParOf" srcId="{E72ED693-28FE-44C6-AC2A-7E294A76DF0B}" destId="{8543387D-E56D-454B-AE98-D0F4BF9BE07D}" srcOrd="0" destOrd="0" presId="urn:microsoft.com/office/officeart/2008/layout/LinedList"/>
    <dgm:cxn modelId="{333D2EA7-7571-450C-B247-617420A625E7}" type="presParOf" srcId="{E72ED693-28FE-44C6-AC2A-7E294A76DF0B}" destId="{E53CCEAF-C356-4BE6-8893-EDEDDDB32CB9}" srcOrd="1" destOrd="0" presId="urn:microsoft.com/office/officeart/2008/layout/LinedList"/>
    <dgm:cxn modelId="{95CF90CD-ECD0-44D5-9805-AD6692259476}" type="presParOf" srcId="{E53CCEAF-C356-4BE6-8893-EDEDDDB32CB9}" destId="{900CC980-8B46-4B8B-88E4-F9410FFECD85}" srcOrd="0" destOrd="0" presId="urn:microsoft.com/office/officeart/2008/layout/LinedList"/>
    <dgm:cxn modelId="{D003F32B-C392-4FFF-9260-3D7BF8BB48DE}" type="presParOf" srcId="{E53CCEAF-C356-4BE6-8893-EDEDDDB32CB9}" destId="{60F3791A-2330-48B2-8908-A9F47A5B80C2}" srcOrd="1" destOrd="0" presId="urn:microsoft.com/office/officeart/2008/layout/LinedList"/>
    <dgm:cxn modelId="{21202DC2-F9EB-466D-8078-95542CF0BB3B}" type="presParOf" srcId="{E53CCEAF-C356-4BE6-8893-EDEDDDB32CB9}" destId="{D4D24339-87E8-4A06-82A4-6C1F41A7E171}" srcOrd="2" destOrd="0" presId="urn:microsoft.com/office/officeart/2008/layout/LinedList"/>
    <dgm:cxn modelId="{979DC8CE-EDC7-47B9-A720-7013720064FB}" type="presParOf" srcId="{E72ED693-28FE-44C6-AC2A-7E294A76DF0B}" destId="{32527A27-1126-43DF-ACF9-A2355400D96A}" srcOrd="2" destOrd="0" presId="urn:microsoft.com/office/officeart/2008/layout/LinedList"/>
    <dgm:cxn modelId="{3D214EED-BC35-420E-A1D5-A2D88FAE0236}" type="presParOf" srcId="{E72ED693-28FE-44C6-AC2A-7E294A76DF0B}" destId="{0D2C2F64-F98A-45EA-8F3F-02DF42134224}" srcOrd="3" destOrd="0" presId="urn:microsoft.com/office/officeart/2008/layout/LinedList"/>
    <dgm:cxn modelId="{A3E23853-612B-4277-8DD0-84FFFB2AF4FC}" type="presParOf" srcId="{71B0718A-E30C-4DD2-84CA-A2F27A4D72BC}" destId="{7F5F788B-7EA1-4C83-8C71-C987DCC2BFEB}" srcOrd="6" destOrd="0" presId="urn:microsoft.com/office/officeart/2008/layout/LinedList"/>
    <dgm:cxn modelId="{2FFC1F7F-8838-4089-B2F4-E3E124600991}" type="presParOf" srcId="{71B0718A-E30C-4DD2-84CA-A2F27A4D72BC}" destId="{5983CA4A-FA9C-4510-AA6D-E0B924328F18}" srcOrd="7" destOrd="0" presId="urn:microsoft.com/office/officeart/2008/layout/LinedList"/>
    <dgm:cxn modelId="{EEEF47A3-E000-4330-8D64-AB3D92B13D9B}" type="presParOf" srcId="{5983CA4A-FA9C-4510-AA6D-E0B924328F18}" destId="{087B7962-8D2E-4063-A8FA-B985C2AEC481}" srcOrd="0" destOrd="0" presId="urn:microsoft.com/office/officeart/2008/layout/LinedList"/>
    <dgm:cxn modelId="{5607B57C-C7EA-4B42-A568-68B48555062B}" type="presParOf" srcId="{5983CA4A-FA9C-4510-AA6D-E0B924328F18}" destId="{647CC1B5-9E4D-4059-91BD-CE5552BAC5A8}" srcOrd="1" destOrd="0" presId="urn:microsoft.com/office/officeart/2008/layout/LinedList"/>
    <dgm:cxn modelId="{D440E135-5588-4FBB-BE9B-DF77B19E8CA1}" type="presParOf" srcId="{647CC1B5-9E4D-4059-91BD-CE5552BAC5A8}" destId="{965DE484-BBDF-4ACD-B5B1-D9A1D737B1BA}" srcOrd="0" destOrd="0" presId="urn:microsoft.com/office/officeart/2008/layout/LinedList"/>
    <dgm:cxn modelId="{983C59FF-D5C6-4E0C-B478-41D6A22371EB}" type="presParOf" srcId="{647CC1B5-9E4D-4059-91BD-CE5552BAC5A8}" destId="{F97B49DF-EAE0-4F74-9A7F-7D8685BE2D63}" srcOrd="1" destOrd="0" presId="urn:microsoft.com/office/officeart/2008/layout/LinedList"/>
    <dgm:cxn modelId="{49FE4827-3B2D-4940-99FB-9EF2DC134907}" type="presParOf" srcId="{F97B49DF-EAE0-4F74-9A7F-7D8685BE2D63}" destId="{D1358D9D-A620-4C1E-8CCC-BABBF1481DB3}" srcOrd="0" destOrd="0" presId="urn:microsoft.com/office/officeart/2008/layout/LinedList"/>
    <dgm:cxn modelId="{CBBFDEFD-E71B-44B9-A571-C0D9F6CF002B}" type="presParOf" srcId="{F97B49DF-EAE0-4F74-9A7F-7D8685BE2D63}" destId="{B2F173E9-4EAC-4086-A485-A703BDD2CBEC}" srcOrd="1" destOrd="0" presId="urn:microsoft.com/office/officeart/2008/layout/LinedList"/>
    <dgm:cxn modelId="{94F33C01-FC42-41C5-97E1-6AEA1525C090}" type="presParOf" srcId="{F97B49DF-EAE0-4F74-9A7F-7D8685BE2D63}" destId="{BAAF331E-CCA4-4059-9FDB-023865BE4B4E}" srcOrd="2" destOrd="0" presId="urn:microsoft.com/office/officeart/2008/layout/LinedList"/>
    <dgm:cxn modelId="{6F4E8B49-9B45-45AB-BD6A-DFC33D50F9F1}" type="presParOf" srcId="{647CC1B5-9E4D-4059-91BD-CE5552BAC5A8}" destId="{929F2312-2D7C-4689-A72B-B1D9C982B74F}" srcOrd="2" destOrd="0" presId="urn:microsoft.com/office/officeart/2008/layout/LinedList"/>
    <dgm:cxn modelId="{7A7056D7-DC7D-47E7-BBD2-3C810F387D7B}" type="presParOf" srcId="{647CC1B5-9E4D-4059-91BD-CE5552BAC5A8}" destId="{AE1789B9-C782-478D-883C-D312FB0155AB}" srcOrd="3" destOrd="0" presId="urn:microsoft.com/office/officeart/2008/layout/LinedList"/>
    <dgm:cxn modelId="{65FA48F4-DEBD-437B-8EE5-5E54602F3607}" type="presParOf" srcId="{71B0718A-E30C-4DD2-84CA-A2F27A4D72BC}" destId="{CB12A1A4-2DE7-40BA-B051-24F72025E2EE}" srcOrd="8" destOrd="0" presId="urn:microsoft.com/office/officeart/2008/layout/LinedList"/>
    <dgm:cxn modelId="{5C092F9F-371E-466C-9314-B728AB8F94F5}" type="presParOf" srcId="{71B0718A-E30C-4DD2-84CA-A2F27A4D72BC}" destId="{FE9B6F88-F545-482C-B37F-50E0EA870BB8}" srcOrd="9" destOrd="0" presId="urn:microsoft.com/office/officeart/2008/layout/LinedList"/>
    <dgm:cxn modelId="{E88069FE-ECC3-48E9-8606-D743017E487C}" type="presParOf" srcId="{FE9B6F88-F545-482C-B37F-50E0EA870BB8}" destId="{4B654F27-78BD-4139-A81E-4A79ED0B987C}" srcOrd="0" destOrd="0" presId="urn:microsoft.com/office/officeart/2008/layout/LinedList"/>
    <dgm:cxn modelId="{FBA417E7-7FD5-461A-AB7D-D3E88A9AA138}" type="presParOf" srcId="{FE9B6F88-F545-482C-B37F-50E0EA870BB8}" destId="{463DF4F2-A23E-4A0A-9B9D-E217A04003DE}" srcOrd="1" destOrd="0" presId="urn:microsoft.com/office/officeart/2008/layout/LinedList"/>
    <dgm:cxn modelId="{2A29CE22-EC06-4B9D-99BD-290DA9CC432E}" type="presParOf" srcId="{463DF4F2-A23E-4A0A-9B9D-E217A04003DE}" destId="{DE44674E-98BF-4CF3-86FE-22A57F67DE87}" srcOrd="0" destOrd="0" presId="urn:microsoft.com/office/officeart/2008/layout/LinedList"/>
    <dgm:cxn modelId="{C617C690-C257-4A03-AF65-7CA37FD68BB9}" type="presParOf" srcId="{463DF4F2-A23E-4A0A-9B9D-E217A04003DE}" destId="{B386F44B-7928-42DE-9A17-1DD1311841C0}" srcOrd="1" destOrd="0" presId="urn:microsoft.com/office/officeart/2008/layout/LinedList"/>
    <dgm:cxn modelId="{C73C121B-5234-4796-BA02-D1B0EA482C19}" type="presParOf" srcId="{B386F44B-7928-42DE-9A17-1DD1311841C0}" destId="{6C5ECC75-9516-483E-BC48-5BDBAEB52891}" srcOrd="0" destOrd="0" presId="urn:microsoft.com/office/officeart/2008/layout/LinedList"/>
    <dgm:cxn modelId="{40E1FBF2-4CBA-4C00-9277-B342E887A05D}" type="presParOf" srcId="{B386F44B-7928-42DE-9A17-1DD1311841C0}" destId="{D54A0B9F-3024-4A10-A47C-3C94C40E1D31}" srcOrd="1" destOrd="0" presId="urn:microsoft.com/office/officeart/2008/layout/LinedList"/>
    <dgm:cxn modelId="{B317BFC7-4C8E-4145-8622-BEAF967F7C6B}" type="presParOf" srcId="{B386F44B-7928-42DE-9A17-1DD1311841C0}" destId="{C3125888-A402-4F75-B26F-B4D2F197B0A1}" srcOrd="2" destOrd="0" presId="urn:microsoft.com/office/officeart/2008/layout/LinedList"/>
    <dgm:cxn modelId="{C9E2A076-28C9-42F1-A268-38A58D58C7E8}" type="presParOf" srcId="{463DF4F2-A23E-4A0A-9B9D-E217A04003DE}" destId="{0C4365BA-32AD-4D45-B4F3-7644D1A38F44}" srcOrd="2" destOrd="0" presId="urn:microsoft.com/office/officeart/2008/layout/LinedList"/>
    <dgm:cxn modelId="{099FA0C2-C326-4C87-81AE-89796F32087E}" type="presParOf" srcId="{463DF4F2-A23E-4A0A-9B9D-E217A04003DE}" destId="{31D08FAE-4F3E-4D89-8385-B8BE91C6137C}" srcOrd="3" destOrd="0" presId="urn:microsoft.com/office/officeart/2008/layout/LinedList"/>
    <dgm:cxn modelId="{4BC968EE-A66C-4721-88B2-71483EEE9FB6}" type="presParOf" srcId="{71B0718A-E30C-4DD2-84CA-A2F27A4D72BC}" destId="{EDE2A60B-502D-4D1A-8E9D-09D86BB5AE1A}" srcOrd="10" destOrd="0" presId="urn:microsoft.com/office/officeart/2008/layout/LinedList"/>
    <dgm:cxn modelId="{D2BDFC53-60B9-4348-9F0A-E66986B48035}" type="presParOf" srcId="{71B0718A-E30C-4DD2-84CA-A2F27A4D72BC}" destId="{FFE1FD6E-A22B-469A-AE4B-37D662C69786}" srcOrd="11" destOrd="0" presId="urn:microsoft.com/office/officeart/2008/layout/LinedList"/>
    <dgm:cxn modelId="{F4B9C03D-9CF3-405E-9049-B2201ABFC8FA}" type="presParOf" srcId="{FFE1FD6E-A22B-469A-AE4B-37D662C69786}" destId="{56A1596C-6160-483A-BAE8-13E99A84BA00}" srcOrd="0" destOrd="0" presId="urn:microsoft.com/office/officeart/2008/layout/LinedList"/>
    <dgm:cxn modelId="{2A391E53-9E0D-4229-86E0-BD3A2F44578F}" type="presParOf" srcId="{FFE1FD6E-A22B-469A-AE4B-37D662C69786}" destId="{5670F553-E702-4904-B13F-FDDC31B129FC}" srcOrd="1" destOrd="0" presId="urn:microsoft.com/office/officeart/2008/layout/LinedList"/>
    <dgm:cxn modelId="{CBAE018E-5E6A-4BFF-9667-C142B90CABF7}" type="presParOf" srcId="{5670F553-E702-4904-B13F-FDDC31B129FC}" destId="{AB023FE5-DACE-4223-8272-D77BBD9A4F74}" srcOrd="0" destOrd="0" presId="urn:microsoft.com/office/officeart/2008/layout/LinedList"/>
    <dgm:cxn modelId="{6F95CA43-B5B5-4BA4-AF32-D25DBDA2A3A4}" type="presParOf" srcId="{5670F553-E702-4904-B13F-FDDC31B129FC}" destId="{BDA35957-8FC9-45D4-838C-1ED3E55EAED3}" srcOrd="1" destOrd="0" presId="urn:microsoft.com/office/officeart/2008/layout/LinedList"/>
    <dgm:cxn modelId="{FB759894-B54D-40EE-9378-7AD8CFEA722B}" type="presParOf" srcId="{BDA35957-8FC9-45D4-838C-1ED3E55EAED3}" destId="{B26826C4-C9D2-4801-8280-FF5BEBC30B40}" srcOrd="0" destOrd="0" presId="urn:microsoft.com/office/officeart/2008/layout/LinedList"/>
    <dgm:cxn modelId="{0362B614-4372-412D-BD1E-68B088B06D02}" type="presParOf" srcId="{BDA35957-8FC9-45D4-838C-1ED3E55EAED3}" destId="{4143D053-8B91-49D9-8621-692A005A8018}" srcOrd="1" destOrd="0" presId="urn:microsoft.com/office/officeart/2008/layout/LinedList"/>
    <dgm:cxn modelId="{E4DD03E5-9ECA-426B-B4B0-D974D179E842}" type="presParOf" srcId="{BDA35957-8FC9-45D4-838C-1ED3E55EAED3}" destId="{C10BC84C-6B48-4C10-B4A0-721AA923D4F6}" srcOrd="2" destOrd="0" presId="urn:microsoft.com/office/officeart/2008/layout/LinedList"/>
    <dgm:cxn modelId="{996BD2FF-EDBF-407A-95A8-4477388723E8}" type="presParOf" srcId="{5670F553-E702-4904-B13F-FDDC31B129FC}" destId="{B0391703-7F80-498C-B172-47CDCC58B6B7}" srcOrd="2" destOrd="0" presId="urn:microsoft.com/office/officeart/2008/layout/LinedList"/>
    <dgm:cxn modelId="{0D3D73CD-4B6B-4A56-815B-3E3FCED95F4C}" type="presParOf" srcId="{5670F553-E702-4904-B13F-FDDC31B129FC}" destId="{DAB6892D-A0BF-4FCD-AE2D-80C2A7AEB87E}" srcOrd="3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895090E7-4EE8-45A9-9837-1F3E0B40D7A1}" type="doc">
      <dgm:prSet loTypeId="urn:microsoft.com/office/officeart/2008/layout/LinedList" loCatId="list" qsTypeId="urn:microsoft.com/office/officeart/2005/8/quickstyle/simple5" qsCatId="simple" csTypeId="urn:microsoft.com/office/officeart/2005/8/colors/accent2_4" csCatId="accent2" phldr="1"/>
      <dgm:spPr/>
      <dgm:t>
        <a:bodyPr/>
        <a:lstStyle/>
        <a:p>
          <a:endParaRPr lang="en-US"/>
        </a:p>
      </dgm:t>
    </dgm:pt>
    <dgm:pt modelId="{F1A197B0-8B55-4E0E-99C7-8A8DBFA457EC}">
      <dgm:prSet/>
      <dgm:spPr/>
      <dgm:t>
        <a:bodyPr/>
        <a:lstStyle/>
        <a:p>
          <a:r>
            <a:rPr lang="en-US" dirty="0"/>
            <a:t>C7</a:t>
          </a:r>
        </a:p>
      </dgm:t>
    </dgm:pt>
    <dgm:pt modelId="{F32FADDC-FCE9-4AB1-BEC0-66E64E2D3DA9}" type="parTrans" cxnId="{51DD223E-0519-440B-B61F-D204D5F13AEA}">
      <dgm:prSet/>
      <dgm:spPr/>
      <dgm:t>
        <a:bodyPr/>
        <a:lstStyle/>
        <a:p>
          <a:endParaRPr lang="en-US"/>
        </a:p>
      </dgm:t>
    </dgm:pt>
    <dgm:pt modelId="{A374B59E-E615-43ED-9C79-73D001444D9D}" type="sibTrans" cxnId="{51DD223E-0519-440B-B61F-D204D5F13AEA}">
      <dgm:prSet/>
      <dgm:spPr/>
      <dgm:t>
        <a:bodyPr/>
        <a:lstStyle/>
        <a:p>
          <a:endParaRPr lang="en-US"/>
        </a:p>
      </dgm:t>
    </dgm:pt>
    <dgm:pt modelId="{04088674-FE96-4E32-A795-D67B4A515EE0}">
      <dgm:prSet/>
      <dgm:spPr/>
      <dgm:t>
        <a:bodyPr/>
        <a:lstStyle/>
        <a:p>
          <a:r>
            <a:rPr lang="en-US" dirty="0"/>
            <a:t>A comprehensive instructor review of the presentation of the course, covering:</a:t>
          </a:r>
        </a:p>
      </dgm:t>
    </dgm:pt>
    <dgm:pt modelId="{D782A766-C7C5-4EDA-A4CD-05E6BE3D0B67}" type="parTrans" cxnId="{836DEE48-A29F-4D0B-9840-1F80DC8FAB73}">
      <dgm:prSet/>
      <dgm:spPr/>
      <dgm:t>
        <a:bodyPr/>
        <a:lstStyle/>
        <a:p>
          <a:endParaRPr lang="en-US"/>
        </a:p>
      </dgm:t>
    </dgm:pt>
    <dgm:pt modelId="{0247A9BE-8895-4F0A-8E57-25DA299E62DD}" type="sibTrans" cxnId="{836DEE48-A29F-4D0B-9840-1F80DC8FAB73}">
      <dgm:prSet/>
      <dgm:spPr/>
      <dgm:t>
        <a:bodyPr/>
        <a:lstStyle/>
        <a:p>
          <a:endParaRPr lang="en-US"/>
        </a:p>
      </dgm:t>
    </dgm:pt>
    <dgm:pt modelId="{FA072505-50EF-4C8E-BA2B-DAB796D0B404}">
      <dgm:prSet custT="1"/>
      <dgm:spPr/>
      <dgm:t>
        <a:bodyPr/>
        <a:lstStyle/>
        <a:p>
          <a:r>
            <a:rPr lang="en-US" sz="1600" dirty="0"/>
            <a:t>Appropriateness of the course learning outcomes; </a:t>
          </a:r>
        </a:p>
      </dgm:t>
    </dgm:pt>
    <dgm:pt modelId="{C7DD6F8B-5D52-473B-95C3-90ADAC3C5841}" type="parTrans" cxnId="{E22F5745-AA8A-4B7B-BF4D-8344F7A6D08C}">
      <dgm:prSet/>
      <dgm:spPr/>
      <dgm:t>
        <a:bodyPr/>
        <a:lstStyle/>
        <a:p>
          <a:endParaRPr lang="en-US"/>
        </a:p>
      </dgm:t>
    </dgm:pt>
    <dgm:pt modelId="{58BAF658-24A0-40A9-B902-4F95589E746D}" type="sibTrans" cxnId="{E22F5745-AA8A-4B7B-BF4D-8344F7A6D08C}">
      <dgm:prSet/>
      <dgm:spPr/>
      <dgm:t>
        <a:bodyPr/>
        <a:lstStyle/>
        <a:p>
          <a:endParaRPr lang="en-US"/>
        </a:p>
      </dgm:t>
    </dgm:pt>
    <dgm:pt modelId="{1672DCAB-B797-49B1-9865-7570B6426E5C}">
      <dgm:prSet custT="1"/>
      <dgm:spPr/>
      <dgm:t>
        <a:bodyPr/>
        <a:lstStyle/>
        <a:p>
          <a:r>
            <a:rPr lang="en-US" sz="1600" dirty="0"/>
            <a:t>Extent to which the syllabus was covered; </a:t>
          </a:r>
        </a:p>
      </dgm:t>
    </dgm:pt>
    <dgm:pt modelId="{2122EE5A-A2A7-434B-A630-098D2677ED63}" type="parTrans" cxnId="{9679EAC3-75BF-43FB-9D10-394B3E73A00E}">
      <dgm:prSet/>
      <dgm:spPr/>
      <dgm:t>
        <a:bodyPr/>
        <a:lstStyle/>
        <a:p>
          <a:endParaRPr lang="en-US"/>
        </a:p>
      </dgm:t>
    </dgm:pt>
    <dgm:pt modelId="{1CA69DF7-3F2C-4D68-BD94-E10FD0276B8E}" type="sibTrans" cxnId="{9679EAC3-75BF-43FB-9D10-394B3E73A00E}">
      <dgm:prSet/>
      <dgm:spPr/>
      <dgm:t>
        <a:bodyPr/>
        <a:lstStyle/>
        <a:p>
          <a:endParaRPr lang="en-US"/>
        </a:p>
      </dgm:t>
    </dgm:pt>
    <dgm:pt modelId="{90E6C11A-26DB-4C85-9E1E-44AE42BBF091}">
      <dgm:prSet custT="1"/>
      <dgm:spPr/>
      <dgm:t>
        <a:bodyPr/>
        <a:lstStyle/>
        <a:p>
          <a:r>
            <a:rPr lang="en-US" sz="1600" dirty="0"/>
            <a:t>Extent to which learning outcomes were met (with evidence); </a:t>
          </a:r>
        </a:p>
      </dgm:t>
    </dgm:pt>
    <dgm:pt modelId="{FD3103B9-5B41-434E-9473-75B852224A1E}" type="parTrans" cxnId="{1A667307-A98D-4704-9C41-8337B839A799}">
      <dgm:prSet/>
      <dgm:spPr/>
      <dgm:t>
        <a:bodyPr/>
        <a:lstStyle/>
        <a:p>
          <a:endParaRPr lang="en-US"/>
        </a:p>
      </dgm:t>
    </dgm:pt>
    <dgm:pt modelId="{549BA65A-0D03-41DC-8921-CFFC0FF16D3C}" type="sibTrans" cxnId="{1A667307-A98D-4704-9C41-8337B839A799}">
      <dgm:prSet/>
      <dgm:spPr/>
      <dgm:t>
        <a:bodyPr/>
        <a:lstStyle/>
        <a:p>
          <a:endParaRPr lang="en-US"/>
        </a:p>
      </dgm:t>
    </dgm:pt>
    <dgm:pt modelId="{43ACE0B0-CC65-4429-82D2-F7F4E8B34A99}">
      <dgm:prSet custT="1"/>
      <dgm:spPr/>
      <dgm:t>
        <a:bodyPr/>
        <a:lstStyle/>
        <a:p>
          <a:r>
            <a:rPr lang="en-US" sz="1600" dirty="0"/>
            <a:t>Appropriateness of textbooks and other learning resources; </a:t>
          </a:r>
        </a:p>
      </dgm:t>
    </dgm:pt>
    <dgm:pt modelId="{E8F5AD33-925C-4418-9D66-7F8FB4EC8777}" type="parTrans" cxnId="{6099FFE4-1CB8-43D8-BCF3-98071045B12F}">
      <dgm:prSet/>
      <dgm:spPr/>
      <dgm:t>
        <a:bodyPr/>
        <a:lstStyle/>
        <a:p>
          <a:endParaRPr lang="en-US"/>
        </a:p>
      </dgm:t>
    </dgm:pt>
    <dgm:pt modelId="{F7971A59-AA64-406E-9D66-3F83F6DD5849}" type="sibTrans" cxnId="{6099FFE4-1CB8-43D8-BCF3-98071045B12F}">
      <dgm:prSet/>
      <dgm:spPr/>
      <dgm:t>
        <a:bodyPr/>
        <a:lstStyle/>
        <a:p>
          <a:endParaRPr lang="en-US"/>
        </a:p>
      </dgm:t>
    </dgm:pt>
    <dgm:pt modelId="{A76E3ADF-849A-4288-899D-F6ACA5203E36}">
      <dgm:prSet custT="1"/>
      <dgm:spPr/>
      <dgm:t>
        <a:bodyPr/>
        <a:lstStyle/>
        <a:p>
          <a:r>
            <a:rPr lang="en-US" sz="1600" dirty="0"/>
            <a:t>Appropriateness of assessment instruments in relation to learning outcomes; </a:t>
          </a:r>
        </a:p>
      </dgm:t>
    </dgm:pt>
    <dgm:pt modelId="{97CF6B9E-9E75-4719-BDFE-8202E966A9DE}" type="parTrans" cxnId="{BDD779B5-D2F1-417F-9E3E-8C58938DC586}">
      <dgm:prSet/>
      <dgm:spPr/>
      <dgm:t>
        <a:bodyPr/>
        <a:lstStyle/>
        <a:p>
          <a:endParaRPr lang="en-US"/>
        </a:p>
      </dgm:t>
    </dgm:pt>
    <dgm:pt modelId="{7A05CB9B-ED11-4959-8034-119BE7749527}" type="sibTrans" cxnId="{BDD779B5-D2F1-417F-9E3E-8C58938DC586}">
      <dgm:prSet/>
      <dgm:spPr/>
      <dgm:t>
        <a:bodyPr/>
        <a:lstStyle/>
        <a:p>
          <a:endParaRPr lang="en-US"/>
        </a:p>
      </dgm:t>
    </dgm:pt>
    <dgm:pt modelId="{DD4AA758-FDCD-4C17-B8B7-222D30E125AD}">
      <dgm:prSet custT="1"/>
      <dgm:spPr/>
      <dgm:t>
        <a:bodyPr/>
        <a:lstStyle/>
        <a:p>
          <a:r>
            <a:rPr lang="en-US" sz="1600" dirty="0"/>
            <a:t>Appropriateness of the balance of assessment; </a:t>
          </a:r>
        </a:p>
      </dgm:t>
    </dgm:pt>
    <dgm:pt modelId="{C4751D56-1AB5-4969-9880-D68D4D6DC7BA}" type="parTrans" cxnId="{DF8CC3F5-5B53-4CD7-8357-C11B2B0400C5}">
      <dgm:prSet/>
      <dgm:spPr/>
      <dgm:t>
        <a:bodyPr/>
        <a:lstStyle/>
        <a:p>
          <a:endParaRPr lang="en-US"/>
        </a:p>
      </dgm:t>
    </dgm:pt>
    <dgm:pt modelId="{ABD7D870-84CD-48E6-90D5-C3A5C18E1E88}" type="sibTrans" cxnId="{DF8CC3F5-5B53-4CD7-8357-C11B2B0400C5}">
      <dgm:prSet/>
      <dgm:spPr/>
      <dgm:t>
        <a:bodyPr/>
        <a:lstStyle/>
        <a:p>
          <a:endParaRPr lang="en-US"/>
        </a:p>
      </dgm:t>
    </dgm:pt>
    <dgm:pt modelId="{6632BC43-1987-4C22-A5C1-8009AD1893B7}">
      <dgm:prSet custT="1"/>
      <dgm:spPr/>
      <dgm:t>
        <a:bodyPr/>
        <a:lstStyle/>
        <a:p>
          <a:r>
            <a:rPr lang="en-US" sz="1600" dirty="0"/>
            <a:t>Appropriateness of prerequisites; </a:t>
          </a:r>
        </a:p>
      </dgm:t>
    </dgm:pt>
    <dgm:pt modelId="{36FB6F55-8C0F-450B-97CE-CBF8EEC654F6}" type="parTrans" cxnId="{D7EBC8AB-B181-4ABF-8137-D6160D8A6710}">
      <dgm:prSet/>
      <dgm:spPr/>
      <dgm:t>
        <a:bodyPr/>
        <a:lstStyle/>
        <a:p>
          <a:endParaRPr lang="en-US"/>
        </a:p>
      </dgm:t>
    </dgm:pt>
    <dgm:pt modelId="{3AB352E2-B9CF-4B82-8FFA-DE9782C9850C}" type="sibTrans" cxnId="{D7EBC8AB-B181-4ABF-8137-D6160D8A6710}">
      <dgm:prSet/>
      <dgm:spPr/>
      <dgm:t>
        <a:bodyPr/>
        <a:lstStyle/>
        <a:p>
          <a:endParaRPr lang="en-US"/>
        </a:p>
      </dgm:t>
    </dgm:pt>
    <dgm:pt modelId="{90ACB858-6A39-4185-90A3-8DED3E69052C}">
      <dgm:prSet custT="1"/>
      <dgm:spPr/>
      <dgm:t>
        <a:bodyPr/>
        <a:lstStyle/>
        <a:p>
          <a:r>
            <a:rPr lang="en-US" sz="1600" dirty="0"/>
            <a:t>General comments on any problems encountered with the course; </a:t>
          </a:r>
        </a:p>
      </dgm:t>
    </dgm:pt>
    <dgm:pt modelId="{52DE1283-BB87-48B8-AD45-38B941CEEB27}" type="parTrans" cxnId="{69F2ED05-6D0E-4D10-85F8-07C4357DBDE8}">
      <dgm:prSet/>
      <dgm:spPr/>
      <dgm:t>
        <a:bodyPr/>
        <a:lstStyle/>
        <a:p>
          <a:endParaRPr lang="en-US"/>
        </a:p>
      </dgm:t>
    </dgm:pt>
    <dgm:pt modelId="{9B8C74DB-CCBB-4B23-9425-BC34FBB7383C}" type="sibTrans" cxnId="{69F2ED05-6D0E-4D10-85F8-07C4357DBDE8}">
      <dgm:prSet/>
      <dgm:spPr/>
      <dgm:t>
        <a:bodyPr/>
        <a:lstStyle/>
        <a:p>
          <a:endParaRPr lang="en-US"/>
        </a:p>
      </dgm:t>
    </dgm:pt>
    <dgm:pt modelId="{78E44B65-04C5-49A6-B9AC-92F4F9F5E274}">
      <dgm:prSet/>
      <dgm:spPr/>
      <dgm:t>
        <a:bodyPr/>
        <a:lstStyle/>
        <a:p>
          <a:r>
            <a:rPr lang="en-US" dirty="0"/>
            <a:t>C8</a:t>
          </a:r>
        </a:p>
      </dgm:t>
    </dgm:pt>
    <dgm:pt modelId="{8A2A55C1-D6EC-46EC-8AC8-2BB769DFBE30}" type="parTrans" cxnId="{24288338-D4A1-4D42-A610-5794D66DF9AB}">
      <dgm:prSet/>
      <dgm:spPr/>
      <dgm:t>
        <a:bodyPr/>
        <a:lstStyle/>
        <a:p>
          <a:endParaRPr lang="en-US"/>
        </a:p>
      </dgm:t>
    </dgm:pt>
    <dgm:pt modelId="{449CD05B-D4B9-496C-ACD7-B7581D225B8F}" type="sibTrans" cxnId="{24288338-D4A1-4D42-A610-5794D66DF9AB}">
      <dgm:prSet/>
      <dgm:spPr/>
      <dgm:t>
        <a:bodyPr/>
        <a:lstStyle/>
        <a:p>
          <a:endParaRPr lang="en-US"/>
        </a:p>
      </dgm:t>
    </dgm:pt>
    <dgm:pt modelId="{B4A45F76-A895-49D7-BFBA-16B4857FCDD4}">
      <dgm:prSet/>
      <dgm:spPr/>
      <dgm:t>
        <a:bodyPr/>
        <a:lstStyle/>
        <a:p>
          <a:r>
            <a:rPr lang="en-US" dirty="0"/>
            <a:t>Quantitative analysis of student performance during the course presentation (e.g., grade distributions); </a:t>
          </a:r>
        </a:p>
      </dgm:t>
    </dgm:pt>
    <dgm:pt modelId="{3711D386-42E0-4679-B53F-0C748FF4A39A}" type="parTrans" cxnId="{EE94E34F-C4F1-4FD2-B95D-42E19038B2D9}">
      <dgm:prSet/>
      <dgm:spPr/>
      <dgm:t>
        <a:bodyPr/>
        <a:lstStyle/>
        <a:p>
          <a:endParaRPr lang="en-US"/>
        </a:p>
      </dgm:t>
    </dgm:pt>
    <dgm:pt modelId="{37FFBE6C-0DB3-4156-9BAE-A2EEE2F27B35}" type="sibTrans" cxnId="{EE94E34F-C4F1-4FD2-B95D-42E19038B2D9}">
      <dgm:prSet/>
      <dgm:spPr/>
      <dgm:t>
        <a:bodyPr/>
        <a:lstStyle/>
        <a:p>
          <a:endParaRPr lang="en-US"/>
        </a:p>
      </dgm:t>
    </dgm:pt>
    <dgm:pt modelId="{726DFB93-C792-4B69-825D-7F634139E958}">
      <dgm:prSet/>
      <dgm:spPr/>
      <dgm:t>
        <a:bodyPr/>
        <a:lstStyle/>
        <a:p>
          <a:r>
            <a:rPr lang="en-US" dirty="0"/>
            <a:t>C9</a:t>
          </a:r>
        </a:p>
      </dgm:t>
    </dgm:pt>
    <dgm:pt modelId="{83A7E704-A42C-4BDC-94CB-8CE23C06FCA9}" type="parTrans" cxnId="{EAB3AC6A-D045-4CC2-894D-FA21E43A1E1F}">
      <dgm:prSet/>
      <dgm:spPr/>
      <dgm:t>
        <a:bodyPr/>
        <a:lstStyle/>
        <a:p>
          <a:endParaRPr lang="en-US"/>
        </a:p>
      </dgm:t>
    </dgm:pt>
    <dgm:pt modelId="{B94A12DB-8A99-47F7-B53D-CCF8531F3029}" type="sibTrans" cxnId="{EAB3AC6A-D045-4CC2-894D-FA21E43A1E1F}">
      <dgm:prSet/>
      <dgm:spPr/>
      <dgm:t>
        <a:bodyPr/>
        <a:lstStyle/>
        <a:p>
          <a:endParaRPr lang="en-US"/>
        </a:p>
      </dgm:t>
    </dgm:pt>
    <dgm:pt modelId="{6C9CE93B-DFEC-4416-9156-A40A78AD8543}">
      <dgm:prSet/>
      <dgm:spPr/>
      <dgm:t>
        <a:bodyPr/>
        <a:lstStyle/>
        <a:p>
          <a:r>
            <a:rPr lang="en-US" dirty="0"/>
            <a:t>Summary of student feedback on the evaluation of the course.</a:t>
          </a:r>
        </a:p>
      </dgm:t>
    </dgm:pt>
    <dgm:pt modelId="{0307F394-C6C4-40F9-82FE-78FCDB3217EA}" type="parTrans" cxnId="{1164E170-160F-4406-9973-E4729C1D5F1B}">
      <dgm:prSet/>
      <dgm:spPr/>
      <dgm:t>
        <a:bodyPr/>
        <a:lstStyle/>
        <a:p>
          <a:endParaRPr lang="en-US"/>
        </a:p>
      </dgm:t>
    </dgm:pt>
    <dgm:pt modelId="{63DEB5F8-3EC7-4437-8619-0DDCB531A2A3}" type="sibTrans" cxnId="{1164E170-160F-4406-9973-E4729C1D5F1B}">
      <dgm:prSet/>
      <dgm:spPr/>
      <dgm:t>
        <a:bodyPr/>
        <a:lstStyle/>
        <a:p>
          <a:endParaRPr lang="en-US"/>
        </a:p>
      </dgm:t>
    </dgm:pt>
    <dgm:pt modelId="{7CB02D46-6FD5-46AB-AD0B-4763B6D76C49}" type="pres">
      <dgm:prSet presAssocID="{895090E7-4EE8-45A9-9837-1F3E0B40D7A1}" presName="vert0" presStyleCnt="0">
        <dgm:presLayoutVars>
          <dgm:dir/>
          <dgm:animOne val="branch"/>
          <dgm:animLvl val="lvl"/>
        </dgm:presLayoutVars>
      </dgm:prSet>
      <dgm:spPr/>
    </dgm:pt>
    <dgm:pt modelId="{6A82BD41-2052-4029-81D7-13B69B518552}" type="pres">
      <dgm:prSet presAssocID="{F1A197B0-8B55-4E0E-99C7-8A8DBFA457EC}" presName="thickLine" presStyleLbl="alignNode1" presStyleIdx="0" presStyleCnt="3"/>
      <dgm:spPr/>
    </dgm:pt>
    <dgm:pt modelId="{1478344A-15F8-457C-8A14-36D89DB33F64}" type="pres">
      <dgm:prSet presAssocID="{F1A197B0-8B55-4E0E-99C7-8A8DBFA457EC}" presName="horz1" presStyleCnt="0"/>
      <dgm:spPr/>
    </dgm:pt>
    <dgm:pt modelId="{36452E3B-8D08-42AF-ACEE-967E79A5B626}" type="pres">
      <dgm:prSet presAssocID="{F1A197B0-8B55-4E0E-99C7-8A8DBFA457EC}" presName="tx1" presStyleLbl="revTx" presStyleIdx="0" presStyleCnt="14" custScaleX="36036" custScaleY="34234"/>
      <dgm:spPr/>
    </dgm:pt>
    <dgm:pt modelId="{D3C59F9F-6589-4A43-ADA5-29DCD58E296F}" type="pres">
      <dgm:prSet presAssocID="{F1A197B0-8B55-4E0E-99C7-8A8DBFA457EC}" presName="vert1" presStyleCnt="0"/>
      <dgm:spPr/>
    </dgm:pt>
    <dgm:pt modelId="{7FA49A9A-D2F5-4A28-8CE3-EC2205F2A98D}" type="pres">
      <dgm:prSet presAssocID="{04088674-FE96-4E32-A795-D67B4A515EE0}" presName="vertSpace2a" presStyleCnt="0"/>
      <dgm:spPr/>
    </dgm:pt>
    <dgm:pt modelId="{137AB26F-2596-4263-A6E5-408AB6AE588B}" type="pres">
      <dgm:prSet presAssocID="{04088674-FE96-4E32-A795-D67B4A515EE0}" presName="horz2" presStyleCnt="0"/>
      <dgm:spPr/>
    </dgm:pt>
    <dgm:pt modelId="{9DFCB49E-44E7-49AC-B335-84B721A8576F}" type="pres">
      <dgm:prSet presAssocID="{04088674-FE96-4E32-A795-D67B4A515EE0}" presName="horzSpace2" presStyleCnt="0"/>
      <dgm:spPr/>
    </dgm:pt>
    <dgm:pt modelId="{281C7CE5-AB78-4E0A-B26D-78BFEE76AC09}" type="pres">
      <dgm:prSet presAssocID="{04088674-FE96-4E32-A795-D67B4A515EE0}" presName="tx2" presStyleLbl="revTx" presStyleIdx="1" presStyleCnt="14" custScaleX="49569"/>
      <dgm:spPr/>
    </dgm:pt>
    <dgm:pt modelId="{1CC064F7-A664-44EF-BA6B-A0E912D78014}" type="pres">
      <dgm:prSet presAssocID="{04088674-FE96-4E32-A795-D67B4A515EE0}" presName="vert2" presStyleCnt="0"/>
      <dgm:spPr/>
    </dgm:pt>
    <dgm:pt modelId="{1BC9AD98-E93C-47D4-8B79-68375FCD8E5F}" type="pres">
      <dgm:prSet presAssocID="{FA072505-50EF-4C8E-BA2B-DAB796D0B404}" presName="horz3" presStyleCnt="0"/>
      <dgm:spPr/>
    </dgm:pt>
    <dgm:pt modelId="{AA5C1E53-C9E4-4084-96DA-7D70BB1474C8}" type="pres">
      <dgm:prSet presAssocID="{FA072505-50EF-4C8E-BA2B-DAB796D0B404}" presName="horzSpace3" presStyleCnt="0"/>
      <dgm:spPr/>
    </dgm:pt>
    <dgm:pt modelId="{4A927EB6-504E-485C-AE77-108A0BB824EA}" type="pres">
      <dgm:prSet presAssocID="{FA072505-50EF-4C8E-BA2B-DAB796D0B404}" presName="tx3" presStyleLbl="revTx" presStyleIdx="2" presStyleCnt="14" custScaleX="182969"/>
      <dgm:spPr/>
    </dgm:pt>
    <dgm:pt modelId="{7FC2DF39-80B5-4DCD-82AE-298D4449881C}" type="pres">
      <dgm:prSet presAssocID="{FA072505-50EF-4C8E-BA2B-DAB796D0B404}" presName="vert3" presStyleCnt="0"/>
      <dgm:spPr/>
    </dgm:pt>
    <dgm:pt modelId="{D7B11AF6-3FB4-4E24-A19A-DB9727153A24}" type="pres">
      <dgm:prSet presAssocID="{58BAF658-24A0-40A9-B902-4F95589E746D}" presName="thinLine3" presStyleLbl="callout" presStyleIdx="0" presStyleCnt="10"/>
      <dgm:spPr/>
    </dgm:pt>
    <dgm:pt modelId="{2969CF46-3164-4DCF-ACEF-786FD2D34576}" type="pres">
      <dgm:prSet presAssocID="{1672DCAB-B797-49B1-9865-7570B6426E5C}" presName="horz3" presStyleCnt="0"/>
      <dgm:spPr/>
    </dgm:pt>
    <dgm:pt modelId="{940A3742-EDCE-44EA-8C93-464A6411A35C}" type="pres">
      <dgm:prSet presAssocID="{1672DCAB-B797-49B1-9865-7570B6426E5C}" presName="horzSpace3" presStyleCnt="0"/>
      <dgm:spPr/>
    </dgm:pt>
    <dgm:pt modelId="{4C0E5DDB-727B-43B4-99DD-FB3B68DF2F0A}" type="pres">
      <dgm:prSet presAssocID="{1672DCAB-B797-49B1-9865-7570B6426E5C}" presName="tx3" presStyleLbl="revTx" presStyleIdx="3" presStyleCnt="14" custScaleX="182969"/>
      <dgm:spPr/>
    </dgm:pt>
    <dgm:pt modelId="{4505BA9C-C854-4F19-B81A-835B93B4C48B}" type="pres">
      <dgm:prSet presAssocID="{1672DCAB-B797-49B1-9865-7570B6426E5C}" presName="vert3" presStyleCnt="0"/>
      <dgm:spPr/>
    </dgm:pt>
    <dgm:pt modelId="{CB539878-81F1-4E1A-9973-5ED877492FF8}" type="pres">
      <dgm:prSet presAssocID="{1CA69DF7-3F2C-4D68-BD94-E10FD0276B8E}" presName="thinLine3" presStyleLbl="callout" presStyleIdx="1" presStyleCnt="10"/>
      <dgm:spPr/>
    </dgm:pt>
    <dgm:pt modelId="{95D9E804-2873-41D7-88DD-19E78EDEA434}" type="pres">
      <dgm:prSet presAssocID="{90E6C11A-26DB-4C85-9E1E-44AE42BBF091}" presName="horz3" presStyleCnt="0"/>
      <dgm:spPr/>
    </dgm:pt>
    <dgm:pt modelId="{2E5FC881-56FD-4649-A007-7009EBB11774}" type="pres">
      <dgm:prSet presAssocID="{90E6C11A-26DB-4C85-9E1E-44AE42BBF091}" presName="horzSpace3" presStyleCnt="0"/>
      <dgm:spPr/>
    </dgm:pt>
    <dgm:pt modelId="{4B55E822-D402-407B-BC5D-1D7F3B5346F9}" type="pres">
      <dgm:prSet presAssocID="{90E6C11A-26DB-4C85-9E1E-44AE42BBF091}" presName="tx3" presStyleLbl="revTx" presStyleIdx="4" presStyleCnt="14" custScaleX="182969"/>
      <dgm:spPr/>
    </dgm:pt>
    <dgm:pt modelId="{728866E7-291C-42D0-B5DE-2CA92B261669}" type="pres">
      <dgm:prSet presAssocID="{90E6C11A-26DB-4C85-9E1E-44AE42BBF091}" presName="vert3" presStyleCnt="0"/>
      <dgm:spPr/>
    </dgm:pt>
    <dgm:pt modelId="{24D2B96D-3311-4F98-8C6C-13383BFBABC1}" type="pres">
      <dgm:prSet presAssocID="{549BA65A-0D03-41DC-8921-CFFC0FF16D3C}" presName="thinLine3" presStyleLbl="callout" presStyleIdx="2" presStyleCnt="10"/>
      <dgm:spPr/>
    </dgm:pt>
    <dgm:pt modelId="{A469386F-C444-4054-A1C8-4436463639D0}" type="pres">
      <dgm:prSet presAssocID="{43ACE0B0-CC65-4429-82D2-F7F4E8B34A99}" presName="horz3" presStyleCnt="0"/>
      <dgm:spPr/>
    </dgm:pt>
    <dgm:pt modelId="{7999B182-46CF-4D85-94CA-89487D960227}" type="pres">
      <dgm:prSet presAssocID="{43ACE0B0-CC65-4429-82D2-F7F4E8B34A99}" presName="horzSpace3" presStyleCnt="0"/>
      <dgm:spPr/>
    </dgm:pt>
    <dgm:pt modelId="{F605700F-B87B-4C47-85ED-301E87F3C3DB}" type="pres">
      <dgm:prSet presAssocID="{43ACE0B0-CC65-4429-82D2-F7F4E8B34A99}" presName="tx3" presStyleLbl="revTx" presStyleIdx="5" presStyleCnt="14" custScaleX="182969"/>
      <dgm:spPr/>
    </dgm:pt>
    <dgm:pt modelId="{1EF8F9DF-3C38-48B3-8D6F-03AB8DC2E16C}" type="pres">
      <dgm:prSet presAssocID="{43ACE0B0-CC65-4429-82D2-F7F4E8B34A99}" presName="vert3" presStyleCnt="0"/>
      <dgm:spPr/>
    </dgm:pt>
    <dgm:pt modelId="{6F59587C-3F12-4316-AC77-7934320914FB}" type="pres">
      <dgm:prSet presAssocID="{F7971A59-AA64-406E-9D66-3F83F6DD5849}" presName="thinLine3" presStyleLbl="callout" presStyleIdx="3" presStyleCnt="10"/>
      <dgm:spPr/>
    </dgm:pt>
    <dgm:pt modelId="{A4053DAB-EB3D-4EA8-9BE3-ADD7B002E49A}" type="pres">
      <dgm:prSet presAssocID="{A76E3ADF-849A-4288-899D-F6ACA5203E36}" presName="horz3" presStyleCnt="0"/>
      <dgm:spPr/>
    </dgm:pt>
    <dgm:pt modelId="{A55F5F0D-417D-412D-B43B-B54D81C90F09}" type="pres">
      <dgm:prSet presAssocID="{A76E3ADF-849A-4288-899D-F6ACA5203E36}" presName="horzSpace3" presStyleCnt="0"/>
      <dgm:spPr/>
    </dgm:pt>
    <dgm:pt modelId="{A13DC012-22ED-4571-9A32-C6943E476580}" type="pres">
      <dgm:prSet presAssocID="{A76E3ADF-849A-4288-899D-F6ACA5203E36}" presName="tx3" presStyleLbl="revTx" presStyleIdx="6" presStyleCnt="14" custScaleX="182969"/>
      <dgm:spPr/>
    </dgm:pt>
    <dgm:pt modelId="{C84155A7-5959-4EE0-B428-90D422928B59}" type="pres">
      <dgm:prSet presAssocID="{A76E3ADF-849A-4288-899D-F6ACA5203E36}" presName="vert3" presStyleCnt="0"/>
      <dgm:spPr/>
    </dgm:pt>
    <dgm:pt modelId="{2A3D6812-F8EF-4385-A0BE-594D1B74D6EA}" type="pres">
      <dgm:prSet presAssocID="{7A05CB9B-ED11-4959-8034-119BE7749527}" presName="thinLine3" presStyleLbl="callout" presStyleIdx="4" presStyleCnt="10"/>
      <dgm:spPr/>
    </dgm:pt>
    <dgm:pt modelId="{1B12BEBA-CA0C-4195-9566-C230C7947CAE}" type="pres">
      <dgm:prSet presAssocID="{DD4AA758-FDCD-4C17-B8B7-222D30E125AD}" presName="horz3" presStyleCnt="0"/>
      <dgm:spPr/>
    </dgm:pt>
    <dgm:pt modelId="{444DA62C-985C-4C92-8F96-1984A114CBF9}" type="pres">
      <dgm:prSet presAssocID="{DD4AA758-FDCD-4C17-B8B7-222D30E125AD}" presName="horzSpace3" presStyleCnt="0"/>
      <dgm:spPr/>
    </dgm:pt>
    <dgm:pt modelId="{C10564CA-C172-4561-8233-5C085ACC6B52}" type="pres">
      <dgm:prSet presAssocID="{DD4AA758-FDCD-4C17-B8B7-222D30E125AD}" presName="tx3" presStyleLbl="revTx" presStyleIdx="7" presStyleCnt="14" custScaleX="182969"/>
      <dgm:spPr/>
    </dgm:pt>
    <dgm:pt modelId="{08477B7E-BC0A-438E-91E1-359344B94EBB}" type="pres">
      <dgm:prSet presAssocID="{DD4AA758-FDCD-4C17-B8B7-222D30E125AD}" presName="vert3" presStyleCnt="0"/>
      <dgm:spPr/>
    </dgm:pt>
    <dgm:pt modelId="{DBBAA085-8785-4E79-ACA6-8124FAA7AA74}" type="pres">
      <dgm:prSet presAssocID="{ABD7D870-84CD-48E6-90D5-C3A5C18E1E88}" presName="thinLine3" presStyleLbl="callout" presStyleIdx="5" presStyleCnt="10"/>
      <dgm:spPr/>
    </dgm:pt>
    <dgm:pt modelId="{C7E27B2F-76AB-4CBB-881F-37284B75E7A1}" type="pres">
      <dgm:prSet presAssocID="{6632BC43-1987-4C22-A5C1-8009AD1893B7}" presName="horz3" presStyleCnt="0"/>
      <dgm:spPr/>
    </dgm:pt>
    <dgm:pt modelId="{D3C3BB37-FB44-49CC-B863-F7B5E4E135AC}" type="pres">
      <dgm:prSet presAssocID="{6632BC43-1987-4C22-A5C1-8009AD1893B7}" presName="horzSpace3" presStyleCnt="0"/>
      <dgm:spPr/>
    </dgm:pt>
    <dgm:pt modelId="{AEE592D0-F64E-4660-989D-063493474F0E}" type="pres">
      <dgm:prSet presAssocID="{6632BC43-1987-4C22-A5C1-8009AD1893B7}" presName="tx3" presStyleLbl="revTx" presStyleIdx="8" presStyleCnt="14" custScaleX="182969"/>
      <dgm:spPr/>
    </dgm:pt>
    <dgm:pt modelId="{B5CFE2FE-3C53-44C0-9988-3265A495B5E1}" type="pres">
      <dgm:prSet presAssocID="{6632BC43-1987-4C22-A5C1-8009AD1893B7}" presName="vert3" presStyleCnt="0"/>
      <dgm:spPr/>
    </dgm:pt>
    <dgm:pt modelId="{B87CF14C-E465-48E3-A586-4BA2CD7FD08D}" type="pres">
      <dgm:prSet presAssocID="{3AB352E2-B9CF-4B82-8FFA-DE9782C9850C}" presName="thinLine3" presStyleLbl="callout" presStyleIdx="6" presStyleCnt="10"/>
      <dgm:spPr/>
    </dgm:pt>
    <dgm:pt modelId="{1275FD23-4A60-49D3-8DA0-38DADC6360A3}" type="pres">
      <dgm:prSet presAssocID="{90ACB858-6A39-4185-90A3-8DED3E69052C}" presName="horz3" presStyleCnt="0"/>
      <dgm:spPr/>
    </dgm:pt>
    <dgm:pt modelId="{DFC6E5C3-D85C-4B70-871D-BA3AC01D4210}" type="pres">
      <dgm:prSet presAssocID="{90ACB858-6A39-4185-90A3-8DED3E69052C}" presName="horzSpace3" presStyleCnt="0"/>
      <dgm:spPr/>
    </dgm:pt>
    <dgm:pt modelId="{550D4FEF-6C2A-4009-830E-5EE751A8A5D9}" type="pres">
      <dgm:prSet presAssocID="{90ACB858-6A39-4185-90A3-8DED3E69052C}" presName="tx3" presStyleLbl="revTx" presStyleIdx="9" presStyleCnt="14" custScaleX="182969"/>
      <dgm:spPr/>
    </dgm:pt>
    <dgm:pt modelId="{FB531C12-80F7-47C1-B453-DB25370ED7CA}" type="pres">
      <dgm:prSet presAssocID="{90ACB858-6A39-4185-90A3-8DED3E69052C}" presName="vert3" presStyleCnt="0"/>
      <dgm:spPr/>
    </dgm:pt>
    <dgm:pt modelId="{C96E96F5-3692-420B-A9B4-1EBF63A6A933}" type="pres">
      <dgm:prSet presAssocID="{04088674-FE96-4E32-A795-D67B4A515EE0}" presName="thinLine2b" presStyleLbl="callout" presStyleIdx="7" presStyleCnt="10"/>
      <dgm:spPr/>
    </dgm:pt>
    <dgm:pt modelId="{E5C37783-B5AF-44C5-B004-24B6D70DF682}" type="pres">
      <dgm:prSet presAssocID="{04088674-FE96-4E32-A795-D67B4A515EE0}" presName="vertSpace2b" presStyleCnt="0"/>
      <dgm:spPr/>
    </dgm:pt>
    <dgm:pt modelId="{D6D7D62A-0F44-4CE1-B2F9-94E0992C82EF}" type="pres">
      <dgm:prSet presAssocID="{78E44B65-04C5-49A6-B9AC-92F4F9F5E274}" presName="thickLine" presStyleLbl="alignNode1" presStyleIdx="1" presStyleCnt="3"/>
      <dgm:spPr/>
    </dgm:pt>
    <dgm:pt modelId="{71EE919A-BF63-44A3-98F9-86EB445E1580}" type="pres">
      <dgm:prSet presAssocID="{78E44B65-04C5-49A6-B9AC-92F4F9F5E274}" presName="horz1" presStyleCnt="0"/>
      <dgm:spPr/>
    </dgm:pt>
    <dgm:pt modelId="{6B772905-AFBF-4F53-B842-F76BE90805CE}" type="pres">
      <dgm:prSet presAssocID="{78E44B65-04C5-49A6-B9AC-92F4F9F5E274}" presName="tx1" presStyleLbl="revTx" presStyleIdx="10" presStyleCnt="14" custScaleX="37551" custScaleY="24985"/>
      <dgm:spPr/>
    </dgm:pt>
    <dgm:pt modelId="{DA79A7BC-7D40-4B22-B822-A526BB4F07B3}" type="pres">
      <dgm:prSet presAssocID="{78E44B65-04C5-49A6-B9AC-92F4F9F5E274}" presName="vert1" presStyleCnt="0"/>
      <dgm:spPr/>
    </dgm:pt>
    <dgm:pt modelId="{1BBDF32C-854E-4E8B-9F68-2F32EAD2CE53}" type="pres">
      <dgm:prSet presAssocID="{B4A45F76-A895-49D7-BFBA-16B4857FCDD4}" presName="vertSpace2a" presStyleCnt="0"/>
      <dgm:spPr/>
    </dgm:pt>
    <dgm:pt modelId="{F1756144-74C7-416A-B1E4-060557EE63BC}" type="pres">
      <dgm:prSet presAssocID="{B4A45F76-A895-49D7-BFBA-16B4857FCDD4}" presName="horz2" presStyleCnt="0"/>
      <dgm:spPr/>
    </dgm:pt>
    <dgm:pt modelId="{A3CFB6F9-CE8E-4900-99AC-34DA2117516B}" type="pres">
      <dgm:prSet presAssocID="{B4A45F76-A895-49D7-BFBA-16B4857FCDD4}" presName="horzSpace2" presStyleCnt="0"/>
      <dgm:spPr/>
    </dgm:pt>
    <dgm:pt modelId="{8BEB6FC9-A832-42FA-9D26-9FFB431CE277}" type="pres">
      <dgm:prSet presAssocID="{B4A45F76-A895-49D7-BFBA-16B4857FCDD4}" presName="tx2" presStyleLbl="revTx" presStyleIdx="11" presStyleCnt="14" custScaleX="259740" custScaleY="27397"/>
      <dgm:spPr/>
    </dgm:pt>
    <dgm:pt modelId="{B2946E18-CC3D-412B-86F5-5E18AFD327DE}" type="pres">
      <dgm:prSet presAssocID="{B4A45F76-A895-49D7-BFBA-16B4857FCDD4}" presName="vert2" presStyleCnt="0"/>
      <dgm:spPr/>
    </dgm:pt>
    <dgm:pt modelId="{158D0C22-A164-41D1-AE13-9ACA65C84C94}" type="pres">
      <dgm:prSet presAssocID="{B4A45F76-A895-49D7-BFBA-16B4857FCDD4}" presName="thinLine2b" presStyleLbl="callout" presStyleIdx="8" presStyleCnt="10"/>
      <dgm:spPr/>
    </dgm:pt>
    <dgm:pt modelId="{50EF8EF0-2A4F-4C9D-B137-AF2CD282ABAD}" type="pres">
      <dgm:prSet presAssocID="{B4A45F76-A895-49D7-BFBA-16B4857FCDD4}" presName="vertSpace2b" presStyleCnt="0"/>
      <dgm:spPr/>
    </dgm:pt>
    <dgm:pt modelId="{061F4AEA-AAAF-4D26-80B6-65ADEEC1FB16}" type="pres">
      <dgm:prSet presAssocID="{726DFB93-C792-4B69-825D-7F634139E958}" presName="thickLine" presStyleLbl="alignNode1" presStyleIdx="2" presStyleCnt="3"/>
      <dgm:spPr/>
    </dgm:pt>
    <dgm:pt modelId="{26CD196F-5561-41D8-B196-185A9F816636}" type="pres">
      <dgm:prSet presAssocID="{726DFB93-C792-4B69-825D-7F634139E958}" presName="horz1" presStyleCnt="0"/>
      <dgm:spPr/>
    </dgm:pt>
    <dgm:pt modelId="{A6F1F301-6772-439D-9898-B9B8A9CF1E73}" type="pres">
      <dgm:prSet presAssocID="{726DFB93-C792-4B69-825D-7F634139E958}" presName="tx1" presStyleLbl="revTx" presStyleIdx="12" presStyleCnt="14" custScaleX="37551" custScaleY="34589"/>
      <dgm:spPr/>
    </dgm:pt>
    <dgm:pt modelId="{B0A74AAF-C4B0-495A-A34A-E48A9EA171C5}" type="pres">
      <dgm:prSet presAssocID="{726DFB93-C792-4B69-825D-7F634139E958}" presName="vert1" presStyleCnt="0"/>
      <dgm:spPr/>
    </dgm:pt>
    <dgm:pt modelId="{BA7D0BCF-DD43-40D0-9CFA-FCAB7AD6C75B}" type="pres">
      <dgm:prSet presAssocID="{6C9CE93B-DFEC-4416-9156-A40A78AD8543}" presName="vertSpace2a" presStyleCnt="0"/>
      <dgm:spPr/>
    </dgm:pt>
    <dgm:pt modelId="{FFE6ABC3-3A5D-4B8D-AA3E-BB3F8F450FCD}" type="pres">
      <dgm:prSet presAssocID="{6C9CE93B-DFEC-4416-9156-A40A78AD8543}" presName="horz2" presStyleCnt="0"/>
      <dgm:spPr/>
    </dgm:pt>
    <dgm:pt modelId="{AE03A03D-B468-4C43-9432-96733B71E7AF}" type="pres">
      <dgm:prSet presAssocID="{6C9CE93B-DFEC-4416-9156-A40A78AD8543}" presName="horzSpace2" presStyleCnt="0"/>
      <dgm:spPr/>
    </dgm:pt>
    <dgm:pt modelId="{A0FB0EF2-6117-4868-AE6E-99A4F1E82BB4}" type="pres">
      <dgm:prSet presAssocID="{6C9CE93B-DFEC-4416-9156-A40A78AD8543}" presName="tx2" presStyleLbl="revTx" presStyleIdx="13" presStyleCnt="14" custScaleX="225842" custScaleY="22995"/>
      <dgm:spPr/>
    </dgm:pt>
    <dgm:pt modelId="{6AF4F47E-5B82-4648-B224-F1FD392F49A2}" type="pres">
      <dgm:prSet presAssocID="{6C9CE93B-DFEC-4416-9156-A40A78AD8543}" presName="vert2" presStyleCnt="0"/>
      <dgm:spPr/>
    </dgm:pt>
    <dgm:pt modelId="{B8FBCD42-B4D6-4C01-AB5A-71BA04A235B8}" type="pres">
      <dgm:prSet presAssocID="{6C9CE93B-DFEC-4416-9156-A40A78AD8543}" presName="thinLine2b" presStyleLbl="callout" presStyleIdx="9" presStyleCnt="10"/>
      <dgm:spPr/>
    </dgm:pt>
    <dgm:pt modelId="{D82FDEB8-F54D-41F8-B394-58D0ECABD6DB}" type="pres">
      <dgm:prSet presAssocID="{6C9CE93B-DFEC-4416-9156-A40A78AD8543}" presName="vertSpace2b" presStyleCnt="0"/>
      <dgm:spPr/>
    </dgm:pt>
  </dgm:ptLst>
  <dgm:cxnLst>
    <dgm:cxn modelId="{69F2ED05-6D0E-4D10-85F8-07C4357DBDE8}" srcId="{04088674-FE96-4E32-A795-D67B4A515EE0}" destId="{90ACB858-6A39-4185-90A3-8DED3E69052C}" srcOrd="7" destOrd="0" parTransId="{52DE1283-BB87-48B8-AD45-38B941CEEB27}" sibTransId="{9B8C74DB-CCBB-4B23-9425-BC34FBB7383C}"/>
    <dgm:cxn modelId="{1A667307-A98D-4704-9C41-8337B839A799}" srcId="{04088674-FE96-4E32-A795-D67B4A515EE0}" destId="{90E6C11A-26DB-4C85-9E1E-44AE42BBF091}" srcOrd="2" destOrd="0" parTransId="{FD3103B9-5B41-434E-9473-75B852224A1E}" sibTransId="{549BA65A-0D03-41DC-8921-CFFC0FF16D3C}"/>
    <dgm:cxn modelId="{F537501B-ACE7-438E-B87A-F5B363EA9DED}" type="presOf" srcId="{895090E7-4EE8-45A9-9837-1F3E0B40D7A1}" destId="{7CB02D46-6FD5-46AB-AD0B-4763B6D76C49}" srcOrd="0" destOrd="0" presId="urn:microsoft.com/office/officeart/2008/layout/LinedList"/>
    <dgm:cxn modelId="{D3B25735-109E-4D5C-ADF0-C8DEBFD6E4F8}" type="presOf" srcId="{04088674-FE96-4E32-A795-D67B4A515EE0}" destId="{281C7CE5-AB78-4E0A-B26D-78BFEE76AC09}" srcOrd="0" destOrd="0" presId="urn:microsoft.com/office/officeart/2008/layout/LinedList"/>
    <dgm:cxn modelId="{90D42538-8C82-46E1-A5F0-795A1FCCF1B6}" type="presOf" srcId="{90E6C11A-26DB-4C85-9E1E-44AE42BBF091}" destId="{4B55E822-D402-407B-BC5D-1D7F3B5346F9}" srcOrd="0" destOrd="0" presId="urn:microsoft.com/office/officeart/2008/layout/LinedList"/>
    <dgm:cxn modelId="{24288338-D4A1-4D42-A610-5794D66DF9AB}" srcId="{895090E7-4EE8-45A9-9837-1F3E0B40D7A1}" destId="{78E44B65-04C5-49A6-B9AC-92F4F9F5E274}" srcOrd="1" destOrd="0" parTransId="{8A2A55C1-D6EC-46EC-8AC8-2BB769DFBE30}" sibTransId="{449CD05B-D4B9-496C-ACD7-B7581D225B8F}"/>
    <dgm:cxn modelId="{51DD223E-0519-440B-B61F-D204D5F13AEA}" srcId="{895090E7-4EE8-45A9-9837-1F3E0B40D7A1}" destId="{F1A197B0-8B55-4E0E-99C7-8A8DBFA457EC}" srcOrd="0" destOrd="0" parTransId="{F32FADDC-FCE9-4AB1-BEC0-66E64E2D3DA9}" sibTransId="{A374B59E-E615-43ED-9C79-73D001444D9D}"/>
    <dgm:cxn modelId="{E22F5745-AA8A-4B7B-BF4D-8344F7A6D08C}" srcId="{04088674-FE96-4E32-A795-D67B4A515EE0}" destId="{FA072505-50EF-4C8E-BA2B-DAB796D0B404}" srcOrd="0" destOrd="0" parTransId="{C7DD6F8B-5D52-473B-95C3-90ADAC3C5841}" sibTransId="{58BAF658-24A0-40A9-B902-4F95589E746D}"/>
    <dgm:cxn modelId="{836DEE48-A29F-4D0B-9840-1F80DC8FAB73}" srcId="{F1A197B0-8B55-4E0E-99C7-8A8DBFA457EC}" destId="{04088674-FE96-4E32-A795-D67B4A515EE0}" srcOrd="0" destOrd="0" parTransId="{D782A766-C7C5-4EDA-A4CD-05E6BE3D0B67}" sibTransId="{0247A9BE-8895-4F0A-8E57-25DA299E62DD}"/>
    <dgm:cxn modelId="{D6D70949-6ED3-49A3-86E5-9CDADD44254B}" type="presOf" srcId="{A76E3ADF-849A-4288-899D-F6ACA5203E36}" destId="{A13DC012-22ED-4571-9A32-C6943E476580}" srcOrd="0" destOrd="0" presId="urn:microsoft.com/office/officeart/2008/layout/LinedList"/>
    <dgm:cxn modelId="{629E8969-CB75-46F2-84B6-FDEFDCE7DA76}" type="presOf" srcId="{DD4AA758-FDCD-4C17-B8B7-222D30E125AD}" destId="{C10564CA-C172-4561-8233-5C085ACC6B52}" srcOrd="0" destOrd="0" presId="urn:microsoft.com/office/officeart/2008/layout/LinedList"/>
    <dgm:cxn modelId="{EAB3AC6A-D045-4CC2-894D-FA21E43A1E1F}" srcId="{895090E7-4EE8-45A9-9837-1F3E0B40D7A1}" destId="{726DFB93-C792-4B69-825D-7F634139E958}" srcOrd="2" destOrd="0" parTransId="{83A7E704-A42C-4BDC-94CB-8CE23C06FCA9}" sibTransId="{B94A12DB-8A99-47F7-B53D-CCF8531F3029}"/>
    <dgm:cxn modelId="{EE94E34F-C4F1-4FD2-B95D-42E19038B2D9}" srcId="{78E44B65-04C5-49A6-B9AC-92F4F9F5E274}" destId="{B4A45F76-A895-49D7-BFBA-16B4857FCDD4}" srcOrd="0" destOrd="0" parTransId="{3711D386-42E0-4679-B53F-0C748FF4A39A}" sibTransId="{37FFBE6C-0DB3-4156-9BAE-A2EEE2F27B35}"/>
    <dgm:cxn modelId="{1164E170-160F-4406-9973-E4729C1D5F1B}" srcId="{726DFB93-C792-4B69-825D-7F634139E958}" destId="{6C9CE93B-DFEC-4416-9156-A40A78AD8543}" srcOrd="0" destOrd="0" parTransId="{0307F394-C6C4-40F9-82FE-78FCDB3217EA}" sibTransId="{63DEB5F8-3EC7-4437-8619-0DDCB531A2A3}"/>
    <dgm:cxn modelId="{CB9A4673-0AF5-4DB1-BEF3-E6F6767D1013}" type="presOf" srcId="{1672DCAB-B797-49B1-9865-7570B6426E5C}" destId="{4C0E5DDB-727B-43B4-99DD-FB3B68DF2F0A}" srcOrd="0" destOrd="0" presId="urn:microsoft.com/office/officeart/2008/layout/LinedList"/>
    <dgm:cxn modelId="{983E8478-B046-4312-8826-08F4392BE48E}" type="presOf" srcId="{B4A45F76-A895-49D7-BFBA-16B4857FCDD4}" destId="{8BEB6FC9-A832-42FA-9D26-9FFB431CE277}" srcOrd="0" destOrd="0" presId="urn:microsoft.com/office/officeart/2008/layout/LinedList"/>
    <dgm:cxn modelId="{916F747A-29F4-4843-938C-2A6DD65035EA}" type="presOf" srcId="{726DFB93-C792-4B69-825D-7F634139E958}" destId="{A6F1F301-6772-439D-9898-B9B8A9CF1E73}" srcOrd="0" destOrd="0" presId="urn:microsoft.com/office/officeart/2008/layout/LinedList"/>
    <dgm:cxn modelId="{DE1A367B-25CE-4E18-8CE7-9BE4741D0522}" type="presOf" srcId="{43ACE0B0-CC65-4429-82D2-F7F4E8B34A99}" destId="{F605700F-B87B-4C47-85ED-301E87F3C3DB}" srcOrd="0" destOrd="0" presId="urn:microsoft.com/office/officeart/2008/layout/LinedList"/>
    <dgm:cxn modelId="{0A0C16A2-D249-45D3-9F46-2D3AE51C55CF}" type="presOf" srcId="{6632BC43-1987-4C22-A5C1-8009AD1893B7}" destId="{AEE592D0-F64E-4660-989D-063493474F0E}" srcOrd="0" destOrd="0" presId="urn:microsoft.com/office/officeart/2008/layout/LinedList"/>
    <dgm:cxn modelId="{D7EBC8AB-B181-4ABF-8137-D6160D8A6710}" srcId="{04088674-FE96-4E32-A795-D67B4A515EE0}" destId="{6632BC43-1987-4C22-A5C1-8009AD1893B7}" srcOrd="6" destOrd="0" parTransId="{36FB6F55-8C0F-450B-97CE-CBF8EEC654F6}" sibTransId="{3AB352E2-B9CF-4B82-8FFA-DE9782C9850C}"/>
    <dgm:cxn modelId="{BDD779B5-D2F1-417F-9E3E-8C58938DC586}" srcId="{04088674-FE96-4E32-A795-D67B4A515EE0}" destId="{A76E3ADF-849A-4288-899D-F6ACA5203E36}" srcOrd="4" destOrd="0" parTransId="{97CF6B9E-9E75-4719-BDFE-8202E966A9DE}" sibTransId="{7A05CB9B-ED11-4959-8034-119BE7749527}"/>
    <dgm:cxn modelId="{3B1AEFB7-8431-4714-B9DF-BBB867E73D66}" type="presOf" srcId="{6C9CE93B-DFEC-4416-9156-A40A78AD8543}" destId="{A0FB0EF2-6117-4868-AE6E-99A4F1E82BB4}" srcOrd="0" destOrd="0" presId="urn:microsoft.com/office/officeart/2008/layout/LinedList"/>
    <dgm:cxn modelId="{9679EAC3-75BF-43FB-9D10-394B3E73A00E}" srcId="{04088674-FE96-4E32-A795-D67B4A515EE0}" destId="{1672DCAB-B797-49B1-9865-7570B6426E5C}" srcOrd="1" destOrd="0" parTransId="{2122EE5A-A2A7-434B-A630-098D2677ED63}" sibTransId="{1CA69DF7-3F2C-4D68-BD94-E10FD0276B8E}"/>
    <dgm:cxn modelId="{F4A4FACE-A77D-4F48-A649-FB5D38944D20}" type="presOf" srcId="{90ACB858-6A39-4185-90A3-8DED3E69052C}" destId="{550D4FEF-6C2A-4009-830E-5EE751A8A5D9}" srcOrd="0" destOrd="0" presId="urn:microsoft.com/office/officeart/2008/layout/LinedList"/>
    <dgm:cxn modelId="{96336BD4-D8F5-413F-BE09-ABC9B2D7D7A6}" type="presOf" srcId="{F1A197B0-8B55-4E0E-99C7-8A8DBFA457EC}" destId="{36452E3B-8D08-42AF-ACEE-967E79A5B626}" srcOrd="0" destOrd="0" presId="urn:microsoft.com/office/officeart/2008/layout/LinedList"/>
    <dgm:cxn modelId="{6099FFE4-1CB8-43D8-BCF3-98071045B12F}" srcId="{04088674-FE96-4E32-A795-D67B4A515EE0}" destId="{43ACE0B0-CC65-4429-82D2-F7F4E8B34A99}" srcOrd="3" destOrd="0" parTransId="{E8F5AD33-925C-4418-9D66-7F8FB4EC8777}" sibTransId="{F7971A59-AA64-406E-9D66-3F83F6DD5849}"/>
    <dgm:cxn modelId="{DF8CC3F5-5B53-4CD7-8357-C11B2B0400C5}" srcId="{04088674-FE96-4E32-A795-D67B4A515EE0}" destId="{DD4AA758-FDCD-4C17-B8B7-222D30E125AD}" srcOrd="5" destOrd="0" parTransId="{C4751D56-1AB5-4969-9880-D68D4D6DC7BA}" sibTransId="{ABD7D870-84CD-48E6-90D5-C3A5C18E1E88}"/>
    <dgm:cxn modelId="{E65DB4F7-A741-495F-ACCD-914A4C4DB265}" type="presOf" srcId="{FA072505-50EF-4C8E-BA2B-DAB796D0B404}" destId="{4A927EB6-504E-485C-AE77-108A0BB824EA}" srcOrd="0" destOrd="0" presId="urn:microsoft.com/office/officeart/2008/layout/LinedList"/>
    <dgm:cxn modelId="{D5178DF9-529A-4083-9426-77A048F4E614}" type="presOf" srcId="{78E44B65-04C5-49A6-B9AC-92F4F9F5E274}" destId="{6B772905-AFBF-4F53-B842-F76BE90805CE}" srcOrd="0" destOrd="0" presId="urn:microsoft.com/office/officeart/2008/layout/LinedList"/>
    <dgm:cxn modelId="{79551B5A-AF89-473A-ACDC-56CCF065208C}" type="presParOf" srcId="{7CB02D46-6FD5-46AB-AD0B-4763B6D76C49}" destId="{6A82BD41-2052-4029-81D7-13B69B518552}" srcOrd="0" destOrd="0" presId="urn:microsoft.com/office/officeart/2008/layout/LinedList"/>
    <dgm:cxn modelId="{54BD220E-86D2-4CC3-BA38-43E5425DB2CF}" type="presParOf" srcId="{7CB02D46-6FD5-46AB-AD0B-4763B6D76C49}" destId="{1478344A-15F8-457C-8A14-36D89DB33F64}" srcOrd="1" destOrd="0" presId="urn:microsoft.com/office/officeart/2008/layout/LinedList"/>
    <dgm:cxn modelId="{991428B4-DA6E-4163-A9C3-AC841EF395B5}" type="presParOf" srcId="{1478344A-15F8-457C-8A14-36D89DB33F64}" destId="{36452E3B-8D08-42AF-ACEE-967E79A5B626}" srcOrd="0" destOrd="0" presId="urn:microsoft.com/office/officeart/2008/layout/LinedList"/>
    <dgm:cxn modelId="{5031F3B1-B22C-4E85-B0DC-1DAC418CC97E}" type="presParOf" srcId="{1478344A-15F8-457C-8A14-36D89DB33F64}" destId="{D3C59F9F-6589-4A43-ADA5-29DCD58E296F}" srcOrd="1" destOrd="0" presId="urn:microsoft.com/office/officeart/2008/layout/LinedList"/>
    <dgm:cxn modelId="{CE91EA53-7D19-4CA1-8611-FBF34CCC6C32}" type="presParOf" srcId="{D3C59F9F-6589-4A43-ADA5-29DCD58E296F}" destId="{7FA49A9A-D2F5-4A28-8CE3-EC2205F2A98D}" srcOrd="0" destOrd="0" presId="urn:microsoft.com/office/officeart/2008/layout/LinedList"/>
    <dgm:cxn modelId="{BD7E1522-965F-498A-AF1A-CC53016BFDF7}" type="presParOf" srcId="{D3C59F9F-6589-4A43-ADA5-29DCD58E296F}" destId="{137AB26F-2596-4263-A6E5-408AB6AE588B}" srcOrd="1" destOrd="0" presId="urn:microsoft.com/office/officeart/2008/layout/LinedList"/>
    <dgm:cxn modelId="{FAE75AC5-F6C9-4380-B93B-4C47FA996C3B}" type="presParOf" srcId="{137AB26F-2596-4263-A6E5-408AB6AE588B}" destId="{9DFCB49E-44E7-49AC-B335-84B721A8576F}" srcOrd="0" destOrd="0" presId="urn:microsoft.com/office/officeart/2008/layout/LinedList"/>
    <dgm:cxn modelId="{07037A28-CFDE-413E-BF16-65CCB4FD0337}" type="presParOf" srcId="{137AB26F-2596-4263-A6E5-408AB6AE588B}" destId="{281C7CE5-AB78-4E0A-B26D-78BFEE76AC09}" srcOrd="1" destOrd="0" presId="urn:microsoft.com/office/officeart/2008/layout/LinedList"/>
    <dgm:cxn modelId="{B9EA02B2-2B02-4EE6-A981-8EFB89C91364}" type="presParOf" srcId="{137AB26F-2596-4263-A6E5-408AB6AE588B}" destId="{1CC064F7-A664-44EF-BA6B-A0E912D78014}" srcOrd="2" destOrd="0" presId="urn:microsoft.com/office/officeart/2008/layout/LinedList"/>
    <dgm:cxn modelId="{4ECA3799-C320-408B-89A4-DD616A02F486}" type="presParOf" srcId="{1CC064F7-A664-44EF-BA6B-A0E912D78014}" destId="{1BC9AD98-E93C-47D4-8B79-68375FCD8E5F}" srcOrd="0" destOrd="0" presId="urn:microsoft.com/office/officeart/2008/layout/LinedList"/>
    <dgm:cxn modelId="{480C2772-C971-413A-9F1B-394BA845A20B}" type="presParOf" srcId="{1BC9AD98-E93C-47D4-8B79-68375FCD8E5F}" destId="{AA5C1E53-C9E4-4084-96DA-7D70BB1474C8}" srcOrd="0" destOrd="0" presId="urn:microsoft.com/office/officeart/2008/layout/LinedList"/>
    <dgm:cxn modelId="{8FCAC204-09D5-4835-8CCF-8E4C9BF07CFC}" type="presParOf" srcId="{1BC9AD98-E93C-47D4-8B79-68375FCD8E5F}" destId="{4A927EB6-504E-485C-AE77-108A0BB824EA}" srcOrd="1" destOrd="0" presId="urn:microsoft.com/office/officeart/2008/layout/LinedList"/>
    <dgm:cxn modelId="{680697F7-8B64-48BD-8031-1C81D701DB0A}" type="presParOf" srcId="{1BC9AD98-E93C-47D4-8B79-68375FCD8E5F}" destId="{7FC2DF39-80B5-4DCD-82AE-298D4449881C}" srcOrd="2" destOrd="0" presId="urn:microsoft.com/office/officeart/2008/layout/LinedList"/>
    <dgm:cxn modelId="{1A2A87B6-E9CA-475E-8235-58CDA6D01224}" type="presParOf" srcId="{1CC064F7-A664-44EF-BA6B-A0E912D78014}" destId="{D7B11AF6-3FB4-4E24-A19A-DB9727153A24}" srcOrd="1" destOrd="0" presId="urn:microsoft.com/office/officeart/2008/layout/LinedList"/>
    <dgm:cxn modelId="{471E5B2A-C6F9-4E9D-9E5A-EFFB6E08FAB2}" type="presParOf" srcId="{1CC064F7-A664-44EF-BA6B-A0E912D78014}" destId="{2969CF46-3164-4DCF-ACEF-786FD2D34576}" srcOrd="2" destOrd="0" presId="urn:microsoft.com/office/officeart/2008/layout/LinedList"/>
    <dgm:cxn modelId="{E2B5FCC3-DB4B-46B5-857D-0D829A018DC1}" type="presParOf" srcId="{2969CF46-3164-4DCF-ACEF-786FD2D34576}" destId="{940A3742-EDCE-44EA-8C93-464A6411A35C}" srcOrd="0" destOrd="0" presId="urn:microsoft.com/office/officeart/2008/layout/LinedList"/>
    <dgm:cxn modelId="{2DEDC2CC-6336-4765-992F-E053843B7812}" type="presParOf" srcId="{2969CF46-3164-4DCF-ACEF-786FD2D34576}" destId="{4C0E5DDB-727B-43B4-99DD-FB3B68DF2F0A}" srcOrd="1" destOrd="0" presId="urn:microsoft.com/office/officeart/2008/layout/LinedList"/>
    <dgm:cxn modelId="{337DA91B-D994-44FF-9676-07699BA5F162}" type="presParOf" srcId="{2969CF46-3164-4DCF-ACEF-786FD2D34576}" destId="{4505BA9C-C854-4F19-B81A-835B93B4C48B}" srcOrd="2" destOrd="0" presId="urn:microsoft.com/office/officeart/2008/layout/LinedList"/>
    <dgm:cxn modelId="{0600DFF2-13E2-46D9-9BD4-B65688BA5B5E}" type="presParOf" srcId="{1CC064F7-A664-44EF-BA6B-A0E912D78014}" destId="{CB539878-81F1-4E1A-9973-5ED877492FF8}" srcOrd="3" destOrd="0" presId="urn:microsoft.com/office/officeart/2008/layout/LinedList"/>
    <dgm:cxn modelId="{478D172F-D2D8-4365-AF09-5D79C7D8341A}" type="presParOf" srcId="{1CC064F7-A664-44EF-BA6B-A0E912D78014}" destId="{95D9E804-2873-41D7-88DD-19E78EDEA434}" srcOrd="4" destOrd="0" presId="urn:microsoft.com/office/officeart/2008/layout/LinedList"/>
    <dgm:cxn modelId="{C4302803-D972-47E5-AF00-A1D5FAB188AA}" type="presParOf" srcId="{95D9E804-2873-41D7-88DD-19E78EDEA434}" destId="{2E5FC881-56FD-4649-A007-7009EBB11774}" srcOrd="0" destOrd="0" presId="urn:microsoft.com/office/officeart/2008/layout/LinedList"/>
    <dgm:cxn modelId="{3A8BE4AA-AE36-4D9E-9CF5-E569B03933C9}" type="presParOf" srcId="{95D9E804-2873-41D7-88DD-19E78EDEA434}" destId="{4B55E822-D402-407B-BC5D-1D7F3B5346F9}" srcOrd="1" destOrd="0" presId="urn:microsoft.com/office/officeart/2008/layout/LinedList"/>
    <dgm:cxn modelId="{9D23E515-2448-4075-8C3E-B397C9899347}" type="presParOf" srcId="{95D9E804-2873-41D7-88DD-19E78EDEA434}" destId="{728866E7-291C-42D0-B5DE-2CA92B261669}" srcOrd="2" destOrd="0" presId="urn:microsoft.com/office/officeart/2008/layout/LinedList"/>
    <dgm:cxn modelId="{00979D48-35B4-4523-B578-16C385775B2A}" type="presParOf" srcId="{1CC064F7-A664-44EF-BA6B-A0E912D78014}" destId="{24D2B96D-3311-4F98-8C6C-13383BFBABC1}" srcOrd="5" destOrd="0" presId="urn:microsoft.com/office/officeart/2008/layout/LinedList"/>
    <dgm:cxn modelId="{A8278BCF-2040-46B6-B59D-41372F17F512}" type="presParOf" srcId="{1CC064F7-A664-44EF-BA6B-A0E912D78014}" destId="{A469386F-C444-4054-A1C8-4436463639D0}" srcOrd="6" destOrd="0" presId="urn:microsoft.com/office/officeart/2008/layout/LinedList"/>
    <dgm:cxn modelId="{9BA43DFF-CC5C-4D6E-B583-7E77260EE02D}" type="presParOf" srcId="{A469386F-C444-4054-A1C8-4436463639D0}" destId="{7999B182-46CF-4D85-94CA-89487D960227}" srcOrd="0" destOrd="0" presId="urn:microsoft.com/office/officeart/2008/layout/LinedList"/>
    <dgm:cxn modelId="{B1971D8C-40A6-4E32-B331-2A193B3E9685}" type="presParOf" srcId="{A469386F-C444-4054-A1C8-4436463639D0}" destId="{F605700F-B87B-4C47-85ED-301E87F3C3DB}" srcOrd="1" destOrd="0" presId="urn:microsoft.com/office/officeart/2008/layout/LinedList"/>
    <dgm:cxn modelId="{D072309C-D006-4F93-8B93-502D6678BCC9}" type="presParOf" srcId="{A469386F-C444-4054-A1C8-4436463639D0}" destId="{1EF8F9DF-3C38-48B3-8D6F-03AB8DC2E16C}" srcOrd="2" destOrd="0" presId="urn:microsoft.com/office/officeart/2008/layout/LinedList"/>
    <dgm:cxn modelId="{FEC70BCC-E164-4078-9419-6B62C565A9D9}" type="presParOf" srcId="{1CC064F7-A664-44EF-BA6B-A0E912D78014}" destId="{6F59587C-3F12-4316-AC77-7934320914FB}" srcOrd="7" destOrd="0" presId="urn:microsoft.com/office/officeart/2008/layout/LinedList"/>
    <dgm:cxn modelId="{96D64623-2141-4960-AF9C-8545574E504E}" type="presParOf" srcId="{1CC064F7-A664-44EF-BA6B-A0E912D78014}" destId="{A4053DAB-EB3D-4EA8-9BE3-ADD7B002E49A}" srcOrd="8" destOrd="0" presId="urn:microsoft.com/office/officeart/2008/layout/LinedList"/>
    <dgm:cxn modelId="{B8FC6F92-3AEC-4588-AA4A-6F536EF59EAB}" type="presParOf" srcId="{A4053DAB-EB3D-4EA8-9BE3-ADD7B002E49A}" destId="{A55F5F0D-417D-412D-B43B-B54D81C90F09}" srcOrd="0" destOrd="0" presId="urn:microsoft.com/office/officeart/2008/layout/LinedList"/>
    <dgm:cxn modelId="{A78AF0A5-D92C-436B-A61C-294F862A7C1C}" type="presParOf" srcId="{A4053DAB-EB3D-4EA8-9BE3-ADD7B002E49A}" destId="{A13DC012-22ED-4571-9A32-C6943E476580}" srcOrd="1" destOrd="0" presId="urn:microsoft.com/office/officeart/2008/layout/LinedList"/>
    <dgm:cxn modelId="{2E1BDA0B-6499-44AD-9363-1F7B9A58F879}" type="presParOf" srcId="{A4053DAB-EB3D-4EA8-9BE3-ADD7B002E49A}" destId="{C84155A7-5959-4EE0-B428-90D422928B59}" srcOrd="2" destOrd="0" presId="urn:microsoft.com/office/officeart/2008/layout/LinedList"/>
    <dgm:cxn modelId="{AFE27E43-AE01-42EB-8524-31E76644E7F5}" type="presParOf" srcId="{1CC064F7-A664-44EF-BA6B-A0E912D78014}" destId="{2A3D6812-F8EF-4385-A0BE-594D1B74D6EA}" srcOrd="9" destOrd="0" presId="urn:microsoft.com/office/officeart/2008/layout/LinedList"/>
    <dgm:cxn modelId="{FD0CFB54-A000-4D9F-9913-4C0E220C613D}" type="presParOf" srcId="{1CC064F7-A664-44EF-BA6B-A0E912D78014}" destId="{1B12BEBA-CA0C-4195-9566-C230C7947CAE}" srcOrd="10" destOrd="0" presId="urn:microsoft.com/office/officeart/2008/layout/LinedList"/>
    <dgm:cxn modelId="{47E6C528-AE7B-4850-BE26-FC07837257D6}" type="presParOf" srcId="{1B12BEBA-CA0C-4195-9566-C230C7947CAE}" destId="{444DA62C-985C-4C92-8F96-1984A114CBF9}" srcOrd="0" destOrd="0" presId="urn:microsoft.com/office/officeart/2008/layout/LinedList"/>
    <dgm:cxn modelId="{F84F053C-02C2-40E5-917C-36FBD448CF80}" type="presParOf" srcId="{1B12BEBA-CA0C-4195-9566-C230C7947CAE}" destId="{C10564CA-C172-4561-8233-5C085ACC6B52}" srcOrd="1" destOrd="0" presId="urn:microsoft.com/office/officeart/2008/layout/LinedList"/>
    <dgm:cxn modelId="{02A8CA3E-417F-48BF-A8C2-5E9953F09C82}" type="presParOf" srcId="{1B12BEBA-CA0C-4195-9566-C230C7947CAE}" destId="{08477B7E-BC0A-438E-91E1-359344B94EBB}" srcOrd="2" destOrd="0" presId="urn:microsoft.com/office/officeart/2008/layout/LinedList"/>
    <dgm:cxn modelId="{14A54893-B91F-4074-A0B6-0EF3F7129F4A}" type="presParOf" srcId="{1CC064F7-A664-44EF-BA6B-A0E912D78014}" destId="{DBBAA085-8785-4E79-ACA6-8124FAA7AA74}" srcOrd="11" destOrd="0" presId="urn:microsoft.com/office/officeart/2008/layout/LinedList"/>
    <dgm:cxn modelId="{71900DD8-2268-4AB7-A2B7-5457A7D2F76D}" type="presParOf" srcId="{1CC064F7-A664-44EF-BA6B-A0E912D78014}" destId="{C7E27B2F-76AB-4CBB-881F-37284B75E7A1}" srcOrd="12" destOrd="0" presId="urn:microsoft.com/office/officeart/2008/layout/LinedList"/>
    <dgm:cxn modelId="{2F2D75AC-B57B-4484-815A-F5D2F6765214}" type="presParOf" srcId="{C7E27B2F-76AB-4CBB-881F-37284B75E7A1}" destId="{D3C3BB37-FB44-49CC-B863-F7B5E4E135AC}" srcOrd="0" destOrd="0" presId="urn:microsoft.com/office/officeart/2008/layout/LinedList"/>
    <dgm:cxn modelId="{0349D087-B4BA-402E-9F37-997D2D80601C}" type="presParOf" srcId="{C7E27B2F-76AB-4CBB-881F-37284B75E7A1}" destId="{AEE592D0-F64E-4660-989D-063493474F0E}" srcOrd="1" destOrd="0" presId="urn:microsoft.com/office/officeart/2008/layout/LinedList"/>
    <dgm:cxn modelId="{DAF82FEC-FB1B-408A-A220-5DC27CDEF7EC}" type="presParOf" srcId="{C7E27B2F-76AB-4CBB-881F-37284B75E7A1}" destId="{B5CFE2FE-3C53-44C0-9988-3265A495B5E1}" srcOrd="2" destOrd="0" presId="urn:microsoft.com/office/officeart/2008/layout/LinedList"/>
    <dgm:cxn modelId="{0992BC45-F159-41A4-B8DB-D2859AADB1C1}" type="presParOf" srcId="{1CC064F7-A664-44EF-BA6B-A0E912D78014}" destId="{B87CF14C-E465-48E3-A586-4BA2CD7FD08D}" srcOrd="13" destOrd="0" presId="urn:microsoft.com/office/officeart/2008/layout/LinedList"/>
    <dgm:cxn modelId="{93448B2B-CF2C-4F7E-A3BA-4ECAFFEE2F2E}" type="presParOf" srcId="{1CC064F7-A664-44EF-BA6B-A0E912D78014}" destId="{1275FD23-4A60-49D3-8DA0-38DADC6360A3}" srcOrd="14" destOrd="0" presId="urn:microsoft.com/office/officeart/2008/layout/LinedList"/>
    <dgm:cxn modelId="{CBDBA2C1-B75A-4AF8-9932-1036D6E15E22}" type="presParOf" srcId="{1275FD23-4A60-49D3-8DA0-38DADC6360A3}" destId="{DFC6E5C3-D85C-4B70-871D-BA3AC01D4210}" srcOrd="0" destOrd="0" presId="urn:microsoft.com/office/officeart/2008/layout/LinedList"/>
    <dgm:cxn modelId="{DAF1BF5B-BFCE-4767-B124-B5A0F3FE81E8}" type="presParOf" srcId="{1275FD23-4A60-49D3-8DA0-38DADC6360A3}" destId="{550D4FEF-6C2A-4009-830E-5EE751A8A5D9}" srcOrd="1" destOrd="0" presId="urn:microsoft.com/office/officeart/2008/layout/LinedList"/>
    <dgm:cxn modelId="{570A4DE4-BC0B-4501-AFE3-E065930068A2}" type="presParOf" srcId="{1275FD23-4A60-49D3-8DA0-38DADC6360A3}" destId="{FB531C12-80F7-47C1-B453-DB25370ED7CA}" srcOrd="2" destOrd="0" presId="urn:microsoft.com/office/officeart/2008/layout/LinedList"/>
    <dgm:cxn modelId="{07FF47D5-6F48-4BA4-A550-826E0829060D}" type="presParOf" srcId="{D3C59F9F-6589-4A43-ADA5-29DCD58E296F}" destId="{C96E96F5-3692-420B-A9B4-1EBF63A6A933}" srcOrd="2" destOrd="0" presId="urn:microsoft.com/office/officeart/2008/layout/LinedList"/>
    <dgm:cxn modelId="{DA8BDB3D-CEE3-4DE9-86AB-5D055631B06E}" type="presParOf" srcId="{D3C59F9F-6589-4A43-ADA5-29DCD58E296F}" destId="{E5C37783-B5AF-44C5-B004-24B6D70DF682}" srcOrd="3" destOrd="0" presId="urn:microsoft.com/office/officeart/2008/layout/LinedList"/>
    <dgm:cxn modelId="{3EED56A4-7CE3-46DB-BB3A-09120CB66EA6}" type="presParOf" srcId="{7CB02D46-6FD5-46AB-AD0B-4763B6D76C49}" destId="{D6D7D62A-0F44-4CE1-B2F9-94E0992C82EF}" srcOrd="2" destOrd="0" presId="urn:microsoft.com/office/officeart/2008/layout/LinedList"/>
    <dgm:cxn modelId="{4F33BCBB-C5CB-4E7D-B6C2-115B427CDAA0}" type="presParOf" srcId="{7CB02D46-6FD5-46AB-AD0B-4763B6D76C49}" destId="{71EE919A-BF63-44A3-98F9-86EB445E1580}" srcOrd="3" destOrd="0" presId="urn:microsoft.com/office/officeart/2008/layout/LinedList"/>
    <dgm:cxn modelId="{83EBD9F7-8DB1-469E-9D04-D959FCC4A184}" type="presParOf" srcId="{71EE919A-BF63-44A3-98F9-86EB445E1580}" destId="{6B772905-AFBF-4F53-B842-F76BE90805CE}" srcOrd="0" destOrd="0" presId="urn:microsoft.com/office/officeart/2008/layout/LinedList"/>
    <dgm:cxn modelId="{AD694A22-972C-4D70-8D41-6C9FCC234124}" type="presParOf" srcId="{71EE919A-BF63-44A3-98F9-86EB445E1580}" destId="{DA79A7BC-7D40-4B22-B822-A526BB4F07B3}" srcOrd="1" destOrd="0" presId="urn:microsoft.com/office/officeart/2008/layout/LinedList"/>
    <dgm:cxn modelId="{11841876-F471-40D7-A3DA-2E8B6265B157}" type="presParOf" srcId="{DA79A7BC-7D40-4B22-B822-A526BB4F07B3}" destId="{1BBDF32C-854E-4E8B-9F68-2F32EAD2CE53}" srcOrd="0" destOrd="0" presId="urn:microsoft.com/office/officeart/2008/layout/LinedList"/>
    <dgm:cxn modelId="{CDBDE25B-3C77-4126-9186-E7AC4FB31F56}" type="presParOf" srcId="{DA79A7BC-7D40-4B22-B822-A526BB4F07B3}" destId="{F1756144-74C7-416A-B1E4-060557EE63BC}" srcOrd="1" destOrd="0" presId="urn:microsoft.com/office/officeart/2008/layout/LinedList"/>
    <dgm:cxn modelId="{118DA53C-2567-47EE-AB17-E4B7FF7902F4}" type="presParOf" srcId="{F1756144-74C7-416A-B1E4-060557EE63BC}" destId="{A3CFB6F9-CE8E-4900-99AC-34DA2117516B}" srcOrd="0" destOrd="0" presId="urn:microsoft.com/office/officeart/2008/layout/LinedList"/>
    <dgm:cxn modelId="{5C3BCF9F-6062-43B5-9A38-F826BF1A006D}" type="presParOf" srcId="{F1756144-74C7-416A-B1E4-060557EE63BC}" destId="{8BEB6FC9-A832-42FA-9D26-9FFB431CE277}" srcOrd="1" destOrd="0" presId="urn:microsoft.com/office/officeart/2008/layout/LinedList"/>
    <dgm:cxn modelId="{97A7C13D-0DDC-4D55-8D4E-D90E1C44031B}" type="presParOf" srcId="{F1756144-74C7-416A-B1E4-060557EE63BC}" destId="{B2946E18-CC3D-412B-86F5-5E18AFD327DE}" srcOrd="2" destOrd="0" presId="urn:microsoft.com/office/officeart/2008/layout/LinedList"/>
    <dgm:cxn modelId="{B55A80F5-1A5F-4012-B681-13A776F73ADD}" type="presParOf" srcId="{DA79A7BC-7D40-4B22-B822-A526BB4F07B3}" destId="{158D0C22-A164-41D1-AE13-9ACA65C84C94}" srcOrd="2" destOrd="0" presId="urn:microsoft.com/office/officeart/2008/layout/LinedList"/>
    <dgm:cxn modelId="{A5104480-AD18-4896-A0F8-ECA1082B2C4D}" type="presParOf" srcId="{DA79A7BC-7D40-4B22-B822-A526BB4F07B3}" destId="{50EF8EF0-2A4F-4C9D-B137-AF2CD282ABAD}" srcOrd="3" destOrd="0" presId="urn:microsoft.com/office/officeart/2008/layout/LinedList"/>
    <dgm:cxn modelId="{85227045-8793-40B7-B954-4ADC9D97F624}" type="presParOf" srcId="{7CB02D46-6FD5-46AB-AD0B-4763B6D76C49}" destId="{061F4AEA-AAAF-4D26-80B6-65ADEEC1FB16}" srcOrd="4" destOrd="0" presId="urn:microsoft.com/office/officeart/2008/layout/LinedList"/>
    <dgm:cxn modelId="{F5952075-151C-44D3-A929-624DAF68A015}" type="presParOf" srcId="{7CB02D46-6FD5-46AB-AD0B-4763B6D76C49}" destId="{26CD196F-5561-41D8-B196-185A9F816636}" srcOrd="5" destOrd="0" presId="urn:microsoft.com/office/officeart/2008/layout/LinedList"/>
    <dgm:cxn modelId="{53444A84-8CE5-4EAB-8C3E-7D6C74710E23}" type="presParOf" srcId="{26CD196F-5561-41D8-B196-185A9F816636}" destId="{A6F1F301-6772-439D-9898-B9B8A9CF1E73}" srcOrd="0" destOrd="0" presId="urn:microsoft.com/office/officeart/2008/layout/LinedList"/>
    <dgm:cxn modelId="{7C655BDF-172F-44F7-B96D-4CC507C6B306}" type="presParOf" srcId="{26CD196F-5561-41D8-B196-185A9F816636}" destId="{B0A74AAF-C4B0-495A-A34A-E48A9EA171C5}" srcOrd="1" destOrd="0" presId="urn:microsoft.com/office/officeart/2008/layout/LinedList"/>
    <dgm:cxn modelId="{9F503FA2-497C-45CD-8CF3-5ED20398E043}" type="presParOf" srcId="{B0A74AAF-C4B0-495A-A34A-E48A9EA171C5}" destId="{BA7D0BCF-DD43-40D0-9CFA-FCAB7AD6C75B}" srcOrd="0" destOrd="0" presId="urn:microsoft.com/office/officeart/2008/layout/LinedList"/>
    <dgm:cxn modelId="{2E7CCA0E-B598-44E1-BE86-88A64962620F}" type="presParOf" srcId="{B0A74AAF-C4B0-495A-A34A-E48A9EA171C5}" destId="{FFE6ABC3-3A5D-4B8D-AA3E-BB3F8F450FCD}" srcOrd="1" destOrd="0" presId="urn:microsoft.com/office/officeart/2008/layout/LinedList"/>
    <dgm:cxn modelId="{01259C8A-4DEE-4231-896B-6D6AA615C296}" type="presParOf" srcId="{FFE6ABC3-3A5D-4B8D-AA3E-BB3F8F450FCD}" destId="{AE03A03D-B468-4C43-9432-96733B71E7AF}" srcOrd="0" destOrd="0" presId="urn:microsoft.com/office/officeart/2008/layout/LinedList"/>
    <dgm:cxn modelId="{BB947F84-C6CE-48E8-A2AE-65D9D215DFDC}" type="presParOf" srcId="{FFE6ABC3-3A5D-4B8D-AA3E-BB3F8F450FCD}" destId="{A0FB0EF2-6117-4868-AE6E-99A4F1E82BB4}" srcOrd="1" destOrd="0" presId="urn:microsoft.com/office/officeart/2008/layout/LinedList"/>
    <dgm:cxn modelId="{95A56024-EE82-4E69-87B6-B61C749295D5}" type="presParOf" srcId="{FFE6ABC3-3A5D-4B8D-AA3E-BB3F8F450FCD}" destId="{6AF4F47E-5B82-4648-B224-F1FD392F49A2}" srcOrd="2" destOrd="0" presId="urn:microsoft.com/office/officeart/2008/layout/LinedList"/>
    <dgm:cxn modelId="{AB9E34B0-75D2-417A-9E3F-758991CA8276}" type="presParOf" srcId="{B0A74AAF-C4B0-495A-A34A-E48A9EA171C5}" destId="{B8FBCD42-B4D6-4C01-AB5A-71BA04A235B8}" srcOrd="2" destOrd="0" presId="urn:microsoft.com/office/officeart/2008/layout/LinedList"/>
    <dgm:cxn modelId="{E90D56A0-E4E5-4B50-AEA7-80F475EE8F7B}" type="presParOf" srcId="{B0A74AAF-C4B0-495A-A34A-E48A9EA171C5}" destId="{D82FDEB8-F54D-41F8-B394-58D0ECABD6DB}" srcOrd="3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8070DDFE-7C18-4E10-AD2F-E7FCB6BFC818}" type="doc">
      <dgm:prSet loTypeId="urn:microsoft.com/office/officeart/2005/8/layout/vList2" loCatId="list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en-US"/>
        </a:p>
      </dgm:t>
    </dgm:pt>
    <dgm:pt modelId="{9788F0E6-17F1-492E-B515-B0FE93A0716B}">
      <dgm:prSet/>
      <dgm:spPr/>
      <dgm:t>
        <a:bodyPr/>
        <a:lstStyle/>
        <a:p>
          <a:r>
            <a:rPr lang="en-US" dirty="0"/>
            <a:t>College Academic Officer</a:t>
          </a:r>
        </a:p>
      </dgm:t>
    </dgm:pt>
    <dgm:pt modelId="{D5A339B0-2E8A-4163-BF8D-EAD76FF57DDC}" type="parTrans" cxnId="{5B5EF986-B9EB-4710-AFC7-33B8C0020894}">
      <dgm:prSet/>
      <dgm:spPr/>
      <dgm:t>
        <a:bodyPr/>
        <a:lstStyle/>
        <a:p>
          <a:endParaRPr lang="en-US"/>
        </a:p>
      </dgm:t>
    </dgm:pt>
    <dgm:pt modelId="{A9212D2F-7152-4EF6-B1A0-1062A4664AFC}" type="sibTrans" cxnId="{5B5EF986-B9EB-4710-AFC7-33B8C0020894}">
      <dgm:prSet/>
      <dgm:spPr/>
      <dgm:t>
        <a:bodyPr/>
        <a:lstStyle/>
        <a:p>
          <a:endParaRPr lang="en-US"/>
        </a:p>
      </dgm:t>
    </dgm:pt>
    <dgm:pt modelId="{3F2C6A1B-1062-4CC5-821D-5F26A51D0121}">
      <dgm:prSet/>
      <dgm:spPr/>
      <dgm:t>
        <a:bodyPr/>
        <a:lstStyle/>
        <a:p>
          <a:r>
            <a:rPr lang="en-US" dirty="0"/>
            <a:t>Read </a:t>
          </a:r>
        </a:p>
      </dgm:t>
    </dgm:pt>
    <dgm:pt modelId="{93013766-F275-482F-83A4-A4CC8DF55D1C}" type="parTrans" cxnId="{2F4B1980-28C6-455D-A911-8A953072FB02}">
      <dgm:prSet/>
      <dgm:spPr/>
      <dgm:t>
        <a:bodyPr/>
        <a:lstStyle/>
        <a:p>
          <a:endParaRPr lang="en-US"/>
        </a:p>
      </dgm:t>
    </dgm:pt>
    <dgm:pt modelId="{6D101D78-8C6B-45B3-89E3-1DF39EA385B8}" type="sibTrans" cxnId="{2F4B1980-28C6-455D-A911-8A953072FB02}">
      <dgm:prSet/>
      <dgm:spPr/>
      <dgm:t>
        <a:bodyPr/>
        <a:lstStyle/>
        <a:p>
          <a:endParaRPr lang="en-US"/>
        </a:p>
      </dgm:t>
    </dgm:pt>
    <dgm:pt modelId="{AFE03C76-C3C6-4A2B-A7C9-2E5518676F37}">
      <dgm:prSet/>
      <dgm:spPr/>
      <dgm:t>
        <a:bodyPr/>
        <a:lstStyle/>
        <a:p>
          <a:r>
            <a:rPr lang="en-US" b="0" i="0" dirty="0"/>
            <a:t>Write </a:t>
          </a:r>
          <a:endParaRPr lang="en-US" dirty="0"/>
        </a:p>
      </dgm:t>
    </dgm:pt>
    <dgm:pt modelId="{ABDFE86E-141F-4297-8233-929CE00B707A}" type="parTrans" cxnId="{D10C490C-E265-4A4A-AD36-74C2DFD3C213}">
      <dgm:prSet/>
      <dgm:spPr/>
      <dgm:t>
        <a:bodyPr/>
        <a:lstStyle/>
        <a:p>
          <a:endParaRPr lang="en-US"/>
        </a:p>
      </dgm:t>
    </dgm:pt>
    <dgm:pt modelId="{7A7C8785-3638-42C3-A1B5-383364F68FA4}" type="sibTrans" cxnId="{D10C490C-E265-4A4A-AD36-74C2DFD3C213}">
      <dgm:prSet/>
      <dgm:spPr/>
      <dgm:t>
        <a:bodyPr/>
        <a:lstStyle/>
        <a:p>
          <a:endParaRPr lang="en-US"/>
        </a:p>
      </dgm:t>
    </dgm:pt>
    <dgm:pt modelId="{F77A0BFF-C62F-4E1C-B261-3549212467C8}">
      <dgm:prSet/>
      <dgm:spPr/>
      <dgm:t>
        <a:bodyPr/>
        <a:lstStyle/>
        <a:p>
          <a:r>
            <a:rPr lang="en-US" dirty="0"/>
            <a:t>Remove </a:t>
          </a:r>
        </a:p>
      </dgm:t>
    </dgm:pt>
    <dgm:pt modelId="{D57B0756-2CB1-4DBA-91C2-49B3439BCB16}" type="parTrans" cxnId="{4B5826ED-20F0-4E9B-B6A3-A9B1458A3E18}">
      <dgm:prSet/>
      <dgm:spPr/>
      <dgm:t>
        <a:bodyPr/>
        <a:lstStyle/>
        <a:p>
          <a:endParaRPr lang="en-US"/>
        </a:p>
      </dgm:t>
    </dgm:pt>
    <dgm:pt modelId="{2358B28B-3644-4FA3-8B54-F02F0EE9E35F}" type="sibTrans" cxnId="{4B5826ED-20F0-4E9B-B6A3-A9B1458A3E18}">
      <dgm:prSet/>
      <dgm:spPr/>
      <dgm:t>
        <a:bodyPr/>
        <a:lstStyle/>
        <a:p>
          <a:endParaRPr lang="en-US"/>
        </a:p>
      </dgm:t>
    </dgm:pt>
    <dgm:pt modelId="{A363BF4D-898D-4BC4-ACF3-8E882ED87971}">
      <dgm:prSet/>
      <dgm:spPr/>
      <dgm:t>
        <a:bodyPr/>
        <a:lstStyle/>
        <a:p>
          <a:r>
            <a:rPr lang="en-US" b="0" i="0" dirty="0"/>
            <a:t>Manage</a:t>
          </a:r>
          <a:endParaRPr lang="en-US" dirty="0"/>
        </a:p>
      </dgm:t>
    </dgm:pt>
    <dgm:pt modelId="{907564F2-F64C-40CB-B000-91829E914E12}" type="parTrans" cxnId="{320EE8E9-A871-4DD9-92E1-7F452361D6B0}">
      <dgm:prSet/>
      <dgm:spPr/>
      <dgm:t>
        <a:bodyPr/>
        <a:lstStyle/>
        <a:p>
          <a:endParaRPr lang="en-US"/>
        </a:p>
      </dgm:t>
    </dgm:pt>
    <dgm:pt modelId="{C273F1D3-8102-486F-BC1E-6C065BDE08B6}" type="sibTrans" cxnId="{320EE8E9-A871-4DD9-92E1-7F452361D6B0}">
      <dgm:prSet/>
      <dgm:spPr/>
      <dgm:t>
        <a:bodyPr/>
        <a:lstStyle/>
        <a:p>
          <a:endParaRPr lang="en-US"/>
        </a:p>
      </dgm:t>
    </dgm:pt>
    <dgm:pt modelId="{1CDF2252-7319-469D-A532-68D82957341E}">
      <dgm:prSet/>
      <dgm:spPr/>
      <dgm:t>
        <a:bodyPr/>
        <a:lstStyle/>
        <a:p>
          <a:r>
            <a:rPr lang="en-US" b="0" i="0" dirty="0"/>
            <a:t>COS_ORGANIZATION</a:t>
          </a:r>
          <a:endParaRPr lang="en-US" dirty="0"/>
        </a:p>
      </dgm:t>
    </dgm:pt>
    <dgm:pt modelId="{B4287724-D08C-4F71-8AA0-76461D53D3AB}" type="parTrans" cxnId="{99D86748-1FC9-4106-85B2-6212EF610E49}">
      <dgm:prSet/>
      <dgm:spPr/>
      <dgm:t>
        <a:bodyPr/>
        <a:lstStyle/>
        <a:p>
          <a:endParaRPr lang="en-US"/>
        </a:p>
      </dgm:t>
    </dgm:pt>
    <dgm:pt modelId="{E2D949D7-497E-4B0F-A158-FCE063C54172}" type="sibTrans" cxnId="{99D86748-1FC9-4106-85B2-6212EF610E49}">
      <dgm:prSet/>
      <dgm:spPr/>
      <dgm:t>
        <a:bodyPr/>
        <a:lstStyle/>
        <a:p>
          <a:endParaRPr lang="en-US"/>
        </a:p>
      </dgm:t>
    </dgm:pt>
    <dgm:pt modelId="{F7247102-2AFA-4942-B072-DD69C1EDF68C}">
      <dgm:prSet/>
      <dgm:spPr/>
      <dgm:t>
        <a:bodyPr/>
        <a:lstStyle/>
        <a:p>
          <a:r>
            <a:rPr lang="en-US" b="0" i="0"/>
            <a:t>Access </a:t>
          </a:r>
          <a:r>
            <a:rPr lang="en-US" b="0" i="0" dirty="0"/>
            <a:t>Permission </a:t>
          </a:r>
          <a:endParaRPr lang="en-US" dirty="0"/>
        </a:p>
      </dgm:t>
    </dgm:pt>
    <dgm:pt modelId="{C5E713FF-FF49-4288-A00B-94774F2B35E0}" type="parTrans" cxnId="{024027FA-8E33-45C5-A7FE-8237ECB3E7B5}">
      <dgm:prSet/>
      <dgm:spPr/>
      <dgm:t>
        <a:bodyPr/>
        <a:lstStyle/>
        <a:p>
          <a:endParaRPr lang="en-US"/>
        </a:p>
      </dgm:t>
    </dgm:pt>
    <dgm:pt modelId="{CBE9C537-86A5-4227-80D2-AF0FE66BABBA}" type="sibTrans" cxnId="{024027FA-8E33-45C5-A7FE-8237ECB3E7B5}">
      <dgm:prSet/>
      <dgm:spPr/>
      <dgm:t>
        <a:bodyPr/>
        <a:lstStyle/>
        <a:p>
          <a:endParaRPr lang="en-US"/>
        </a:p>
      </dgm:t>
    </dgm:pt>
    <dgm:pt modelId="{0484CE29-D83D-477E-9283-CBE2F04A0334}" type="pres">
      <dgm:prSet presAssocID="{8070DDFE-7C18-4E10-AD2F-E7FCB6BFC818}" presName="linear" presStyleCnt="0">
        <dgm:presLayoutVars>
          <dgm:animLvl val="lvl"/>
          <dgm:resizeHandles val="exact"/>
        </dgm:presLayoutVars>
      </dgm:prSet>
      <dgm:spPr/>
    </dgm:pt>
    <dgm:pt modelId="{2440BF93-D71B-4FDA-BB1D-04E07BFACB79}" type="pres">
      <dgm:prSet presAssocID="{1CDF2252-7319-469D-A532-68D82957341E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22C4A324-4FEA-49C1-8185-EFE859E1C2A9}" type="pres">
      <dgm:prSet presAssocID="{E2D949D7-497E-4B0F-A158-FCE063C54172}" presName="spacer" presStyleCnt="0"/>
      <dgm:spPr/>
    </dgm:pt>
    <dgm:pt modelId="{56CA467F-7873-4FAE-9095-4EF27B8F51D5}" type="pres">
      <dgm:prSet presAssocID="{9788F0E6-17F1-492E-B515-B0FE93A0716B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189AB223-92D1-4290-9831-0965DD9E24B2}" type="pres">
      <dgm:prSet presAssocID="{A9212D2F-7152-4EF6-B1A0-1062A4664AFC}" presName="spacer" presStyleCnt="0"/>
      <dgm:spPr/>
    </dgm:pt>
    <dgm:pt modelId="{7B20DD0A-B80E-46C7-BF19-A4282AD865D1}" type="pres">
      <dgm:prSet presAssocID="{F7247102-2AFA-4942-B072-DD69C1EDF68C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A7714899-45AD-4A2A-812D-A18B6355285D}" type="pres">
      <dgm:prSet presAssocID="{F7247102-2AFA-4942-B072-DD69C1EDF68C}" presName="childText" presStyleLbl="revTx" presStyleIdx="0" presStyleCnt="1">
        <dgm:presLayoutVars>
          <dgm:bulletEnabled val="1"/>
        </dgm:presLayoutVars>
      </dgm:prSet>
      <dgm:spPr/>
    </dgm:pt>
  </dgm:ptLst>
  <dgm:cxnLst>
    <dgm:cxn modelId="{D10C490C-E265-4A4A-AD36-74C2DFD3C213}" srcId="{F7247102-2AFA-4942-B072-DD69C1EDF68C}" destId="{AFE03C76-C3C6-4A2B-A7C9-2E5518676F37}" srcOrd="1" destOrd="0" parTransId="{ABDFE86E-141F-4297-8233-929CE00B707A}" sibTransId="{7A7C8785-3638-42C3-A1B5-383364F68FA4}"/>
    <dgm:cxn modelId="{C40AAE66-81E7-4055-B255-2BD41C6F36F9}" type="presOf" srcId="{9788F0E6-17F1-492E-B515-B0FE93A0716B}" destId="{56CA467F-7873-4FAE-9095-4EF27B8F51D5}" srcOrd="0" destOrd="0" presId="urn:microsoft.com/office/officeart/2005/8/layout/vList2"/>
    <dgm:cxn modelId="{99D86748-1FC9-4106-85B2-6212EF610E49}" srcId="{8070DDFE-7C18-4E10-AD2F-E7FCB6BFC818}" destId="{1CDF2252-7319-469D-A532-68D82957341E}" srcOrd="0" destOrd="0" parTransId="{B4287724-D08C-4F71-8AA0-76461D53D3AB}" sibTransId="{E2D949D7-497E-4B0F-A158-FCE063C54172}"/>
    <dgm:cxn modelId="{C130B772-D42A-4CD9-9766-4EDC0ED27395}" type="presOf" srcId="{1CDF2252-7319-469D-A532-68D82957341E}" destId="{2440BF93-D71B-4FDA-BB1D-04E07BFACB79}" srcOrd="0" destOrd="0" presId="urn:microsoft.com/office/officeart/2005/8/layout/vList2"/>
    <dgm:cxn modelId="{8BFEBA76-3505-4784-B861-25AEF6A6F714}" type="presOf" srcId="{8070DDFE-7C18-4E10-AD2F-E7FCB6BFC818}" destId="{0484CE29-D83D-477E-9283-CBE2F04A0334}" srcOrd="0" destOrd="0" presId="urn:microsoft.com/office/officeart/2005/8/layout/vList2"/>
    <dgm:cxn modelId="{23C5C278-EC4A-4A02-AC1B-3CBB79407746}" type="presOf" srcId="{3F2C6A1B-1062-4CC5-821D-5F26A51D0121}" destId="{A7714899-45AD-4A2A-812D-A18B6355285D}" srcOrd="0" destOrd="0" presId="urn:microsoft.com/office/officeart/2005/8/layout/vList2"/>
    <dgm:cxn modelId="{2F4B1980-28C6-455D-A911-8A953072FB02}" srcId="{F7247102-2AFA-4942-B072-DD69C1EDF68C}" destId="{3F2C6A1B-1062-4CC5-821D-5F26A51D0121}" srcOrd="0" destOrd="0" parTransId="{93013766-F275-482F-83A4-A4CC8DF55D1C}" sibTransId="{6D101D78-8C6B-45B3-89E3-1DF39EA385B8}"/>
    <dgm:cxn modelId="{5B5EF986-B9EB-4710-AFC7-33B8C0020894}" srcId="{8070DDFE-7C18-4E10-AD2F-E7FCB6BFC818}" destId="{9788F0E6-17F1-492E-B515-B0FE93A0716B}" srcOrd="1" destOrd="0" parTransId="{D5A339B0-2E8A-4163-BF8D-EAD76FF57DDC}" sibTransId="{A9212D2F-7152-4EF6-B1A0-1062A4664AFC}"/>
    <dgm:cxn modelId="{C4F77589-EF27-44A7-A829-4B694A258AEB}" type="presOf" srcId="{F77A0BFF-C62F-4E1C-B261-3549212467C8}" destId="{A7714899-45AD-4A2A-812D-A18B6355285D}" srcOrd="0" destOrd="2" presId="urn:microsoft.com/office/officeart/2005/8/layout/vList2"/>
    <dgm:cxn modelId="{EBC27E9F-5CF6-4ABD-B9B9-78A00B9484AB}" type="presOf" srcId="{F7247102-2AFA-4942-B072-DD69C1EDF68C}" destId="{7B20DD0A-B80E-46C7-BF19-A4282AD865D1}" srcOrd="0" destOrd="0" presId="urn:microsoft.com/office/officeart/2005/8/layout/vList2"/>
    <dgm:cxn modelId="{6958FEAE-3913-488E-80EB-137FF1B21A00}" type="presOf" srcId="{A363BF4D-898D-4BC4-ACF3-8E882ED87971}" destId="{A7714899-45AD-4A2A-812D-A18B6355285D}" srcOrd="0" destOrd="3" presId="urn:microsoft.com/office/officeart/2005/8/layout/vList2"/>
    <dgm:cxn modelId="{967636B4-F9C7-44A8-AB2F-017F8E8E38E1}" type="presOf" srcId="{AFE03C76-C3C6-4A2B-A7C9-2E5518676F37}" destId="{A7714899-45AD-4A2A-812D-A18B6355285D}" srcOrd="0" destOrd="1" presId="urn:microsoft.com/office/officeart/2005/8/layout/vList2"/>
    <dgm:cxn modelId="{320EE8E9-A871-4DD9-92E1-7F452361D6B0}" srcId="{F7247102-2AFA-4942-B072-DD69C1EDF68C}" destId="{A363BF4D-898D-4BC4-ACF3-8E882ED87971}" srcOrd="3" destOrd="0" parTransId="{907564F2-F64C-40CB-B000-91829E914E12}" sibTransId="{C273F1D3-8102-486F-BC1E-6C065BDE08B6}"/>
    <dgm:cxn modelId="{4B5826ED-20F0-4E9B-B6A3-A9B1458A3E18}" srcId="{F7247102-2AFA-4942-B072-DD69C1EDF68C}" destId="{F77A0BFF-C62F-4E1C-B261-3549212467C8}" srcOrd="2" destOrd="0" parTransId="{D57B0756-2CB1-4DBA-91C2-49B3439BCB16}" sibTransId="{2358B28B-3644-4FA3-8B54-F02F0EE9E35F}"/>
    <dgm:cxn modelId="{024027FA-8E33-45C5-A7FE-8237ECB3E7B5}" srcId="{8070DDFE-7C18-4E10-AD2F-E7FCB6BFC818}" destId="{F7247102-2AFA-4942-B072-DD69C1EDF68C}" srcOrd="2" destOrd="0" parTransId="{C5E713FF-FF49-4288-A00B-94774F2B35E0}" sibTransId="{CBE9C537-86A5-4227-80D2-AF0FE66BABBA}"/>
    <dgm:cxn modelId="{32FA145F-EAFD-4095-A70C-F2081105C5BD}" type="presParOf" srcId="{0484CE29-D83D-477E-9283-CBE2F04A0334}" destId="{2440BF93-D71B-4FDA-BB1D-04E07BFACB79}" srcOrd="0" destOrd="0" presId="urn:microsoft.com/office/officeart/2005/8/layout/vList2"/>
    <dgm:cxn modelId="{EF6FC85F-0E65-4FC1-A0E1-A05D960228D3}" type="presParOf" srcId="{0484CE29-D83D-477E-9283-CBE2F04A0334}" destId="{22C4A324-4FEA-49C1-8185-EFE859E1C2A9}" srcOrd="1" destOrd="0" presId="urn:microsoft.com/office/officeart/2005/8/layout/vList2"/>
    <dgm:cxn modelId="{AD3BFC8E-E6C1-4F8A-8AF9-1F888BBDF6B9}" type="presParOf" srcId="{0484CE29-D83D-477E-9283-CBE2F04A0334}" destId="{56CA467F-7873-4FAE-9095-4EF27B8F51D5}" srcOrd="2" destOrd="0" presId="urn:microsoft.com/office/officeart/2005/8/layout/vList2"/>
    <dgm:cxn modelId="{7BFE7DE7-C977-43EC-A7C4-55353B017BC4}" type="presParOf" srcId="{0484CE29-D83D-477E-9283-CBE2F04A0334}" destId="{189AB223-92D1-4290-9831-0965DD9E24B2}" srcOrd="3" destOrd="0" presId="urn:microsoft.com/office/officeart/2005/8/layout/vList2"/>
    <dgm:cxn modelId="{E995666D-0130-4BE5-B85E-C8E197FA7055}" type="presParOf" srcId="{0484CE29-D83D-477E-9283-CBE2F04A0334}" destId="{7B20DD0A-B80E-46C7-BF19-A4282AD865D1}" srcOrd="4" destOrd="0" presId="urn:microsoft.com/office/officeart/2005/8/layout/vList2"/>
    <dgm:cxn modelId="{37FC6B9D-1AAD-486F-93AF-25858ACFAD2D}" type="presParOf" srcId="{0484CE29-D83D-477E-9283-CBE2F04A0334}" destId="{A7714899-45AD-4A2A-812D-A18B6355285D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CA6E0C1-8FEE-43D7-AD07-EA83456B6DD6}">
      <dsp:nvSpPr>
        <dsp:cNvPr id="0" name=""/>
        <dsp:cNvSpPr/>
      </dsp:nvSpPr>
      <dsp:spPr>
        <a:xfrm>
          <a:off x="948432" y="142"/>
          <a:ext cx="982195" cy="982195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AF83E29-FFE4-4B41-AD9E-038A843BE78B}">
      <dsp:nvSpPr>
        <dsp:cNvPr id="0" name=""/>
        <dsp:cNvSpPr/>
      </dsp:nvSpPr>
      <dsp:spPr>
        <a:xfrm>
          <a:off x="1157753" y="209463"/>
          <a:ext cx="563554" cy="563554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031534A-7F16-4D2C-8D92-C70996AAFDE2}">
      <dsp:nvSpPr>
        <dsp:cNvPr id="0" name=""/>
        <dsp:cNvSpPr/>
      </dsp:nvSpPr>
      <dsp:spPr>
        <a:xfrm>
          <a:off x="634452" y="1288267"/>
          <a:ext cx="1610156" cy="6440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5778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1300" kern="1200"/>
            <a:t>CAA course file (Annex 16, 2019 CAA Standard)</a:t>
          </a:r>
        </a:p>
      </dsp:txBody>
      <dsp:txXfrm>
        <a:off x="634452" y="1288267"/>
        <a:ext cx="1610156" cy="644062"/>
      </dsp:txXfrm>
    </dsp:sp>
    <dsp:sp modelId="{4C1BD934-54E4-412F-9E4C-336D14D42E72}">
      <dsp:nvSpPr>
        <dsp:cNvPr id="0" name=""/>
        <dsp:cNvSpPr/>
      </dsp:nvSpPr>
      <dsp:spPr>
        <a:xfrm>
          <a:off x="2840366" y="142"/>
          <a:ext cx="982195" cy="982195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5C37B1E-705A-4291-8492-52AF31F91CBC}">
      <dsp:nvSpPr>
        <dsp:cNvPr id="0" name=""/>
        <dsp:cNvSpPr/>
      </dsp:nvSpPr>
      <dsp:spPr>
        <a:xfrm>
          <a:off x="3049686" y="209463"/>
          <a:ext cx="563554" cy="563554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52BF29B-DAD8-48BF-8FA5-66CE209DB11B}">
      <dsp:nvSpPr>
        <dsp:cNvPr id="0" name=""/>
        <dsp:cNvSpPr/>
      </dsp:nvSpPr>
      <dsp:spPr>
        <a:xfrm>
          <a:off x="2526385" y="1288267"/>
          <a:ext cx="1610156" cy="6440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5778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1300" kern="1200"/>
            <a:t>e-Portfolio Directory Structure </a:t>
          </a:r>
        </a:p>
      </dsp:txBody>
      <dsp:txXfrm>
        <a:off x="2526385" y="1288267"/>
        <a:ext cx="1610156" cy="644062"/>
      </dsp:txXfrm>
    </dsp:sp>
    <dsp:sp modelId="{8183A6AB-B27C-4935-842B-52E87636C0E0}">
      <dsp:nvSpPr>
        <dsp:cNvPr id="0" name=""/>
        <dsp:cNvSpPr/>
      </dsp:nvSpPr>
      <dsp:spPr>
        <a:xfrm>
          <a:off x="4732299" y="142"/>
          <a:ext cx="982195" cy="982195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7405B12-0A95-4BD0-A564-7B4A2362A592}">
      <dsp:nvSpPr>
        <dsp:cNvPr id="0" name=""/>
        <dsp:cNvSpPr/>
      </dsp:nvSpPr>
      <dsp:spPr>
        <a:xfrm>
          <a:off x="4941620" y="209463"/>
          <a:ext cx="563554" cy="563554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B707296-89F1-42D1-9B37-D2F2724AECDA}">
      <dsp:nvSpPr>
        <dsp:cNvPr id="0" name=""/>
        <dsp:cNvSpPr/>
      </dsp:nvSpPr>
      <dsp:spPr>
        <a:xfrm>
          <a:off x="4418319" y="1288267"/>
          <a:ext cx="1610156" cy="6440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5778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1300" kern="1200" dirty="0"/>
            <a:t>Naming Convention </a:t>
          </a:r>
        </a:p>
      </dsp:txBody>
      <dsp:txXfrm>
        <a:off x="4418319" y="1288267"/>
        <a:ext cx="1610156" cy="644062"/>
      </dsp:txXfrm>
    </dsp:sp>
    <dsp:sp modelId="{DE08A44D-C64C-4247-9AA2-724967C60425}">
      <dsp:nvSpPr>
        <dsp:cNvPr id="0" name=""/>
        <dsp:cNvSpPr/>
      </dsp:nvSpPr>
      <dsp:spPr>
        <a:xfrm>
          <a:off x="1894399" y="2334869"/>
          <a:ext cx="982195" cy="982195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D1762D0-2D35-46D1-831E-34D7ED0889BE}">
      <dsp:nvSpPr>
        <dsp:cNvPr id="0" name=""/>
        <dsp:cNvSpPr/>
      </dsp:nvSpPr>
      <dsp:spPr>
        <a:xfrm>
          <a:off x="2103719" y="2544189"/>
          <a:ext cx="563554" cy="563554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E55858E-A273-4179-B789-F893A7D09B1E}">
      <dsp:nvSpPr>
        <dsp:cNvPr id="0" name=""/>
        <dsp:cNvSpPr/>
      </dsp:nvSpPr>
      <dsp:spPr>
        <a:xfrm>
          <a:off x="1580419" y="3622994"/>
          <a:ext cx="1610156" cy="6440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5778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1300" kern="1200"/>
            <a:t>Online Repository </a:t>
          </a:r>
        </a:p>
      </dsp:txBody>
      <dsp:txXfrm>
        <a:off x="1580419" y="3622994"/>
        <a:ext cx="1610156" cy="644062"/>
      </dsp:txXfrm>
    </dsp:sp>
    <dsp:sp modelId="{BC922567-6BDF-4078-9B0F-C4C2D5746E10}">
      <dsp:nvSpPr>
        <dsp:cNvPr id="0" name=""/>
        <dsp:cNvSpPr/>
      </dsp:nvSpPr>
      <dsp:spPr>
        <a:xfrm>
          <a:off x="3786333" y="2334869"/>
          <a:ext cx="982195" cy="982195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E722F0E-F1A4-4B95-9DBF-A66632E0E2A7}">
      <dsp:nvSpPr>
        <dsp:cNvPr id="0" name=""/>
        <dsp:cNvSpPr/>
      </dsp:nvSpPr>
      <dsp:spPr>
        <a:xfrm>
          <a:off x="3995653" y="2544189"/>
          <a:ext cx="563554" cy="563554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2CBC042-1E7B-43AE-8C51-FA709EF5E581}">
      <dsp:nvSpPr>
        <dsp:cNvPr id="0" name=""/>
        <dsp:cNvSpPr/>
      </dsp:nvSpPr>
      <dsp:spPr>
        <a:xfrm>
          <a:off x="3472352" y="3622994"/>
          <a:ext cx="1610156" cy="6440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5778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1300" kern="1200" dirty="0"/>
            <a:t>Security and Privacy</a:t>
          </a:r>
        </a:p>
      </dsp:txBody>
      <dsp:txXfrm>
        <a:off x="3472352" y="3622994"/>
        <a:ext cx="1610156" cy="64406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C116B1A-F907-4CC4-A79E-9E96DD61586D}">
      <dsp:nvSpPr>
        <dsp:cNvPr id="0" name=""/>
        <dsp:cNvSpPr/>
      </dsp:nvSpPr>
      <dsp:spPr>
        <a:xfrm>
          <a:off x="0" y="2418"/>
          <a:ext cx="10514012" cy="0"/>
        </a:xfrm>
        <a:prstGeom prst="line">
          <a:avLst/>
        </a:prstGeom>
        <a:gradFill rotWithShape="0">
          <a:gsLst>
            <a:gs pos="0">
              <a:schemeClr val="accent2">
                <a:shade val="5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shade val="5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shade val="5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2">
              <a:shade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59CBFAC2-8E49-45C7-B0ED-DD63A163EEA4}">
      <dsp:nvSpPr>
        <dsp:cNvPr id="0" name=""/>
        <dsp:cNvSpPr/>
      </dsp:nvSpPr>
      <dsp:spPr>
        <a:xfrm>
          <a:off x="0" y="2418"/>
          <a:ext cx="1979591" cy="8246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4780" tIns="144780" rIns="144780" bIns="144780" numCol="1" spcCol="1270" anchor="t" anchorCtr="0">
          <a:noAutofit/>
        </a:bodyPr>
        <a:lstStyle/>
        <a:p>
          <a:pPr marL="0" lvl="0" indent="0" algn="l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800" kern="1200" dirty="0"/>
            <a:t>C1 	</a:t>
          </a:r>
        </a:p>
      </dsp:txBody>
      <dsp:txXfrm>
        <a:off x="0" y="2418"/>
        <a:ext cx="1979591" cy="824693"/>
      </dsp:txXfrm>
    </dsp:sp>
    <dsp:sp modelId="{5C08F936-9B89-4B6D-9495-F4B5B8EAE234}">
      <dsp:nvSpPr>
        <dsp:cNvPr id="0" name=""/>
        <dsp:cNvSpPr/>
      </dsp:nvSpPr>
      <dsp:spPr>
        <a:xfrm>
          <a:off x="2128060" y="39867"/>
          <a:ext cx="8378045" cy="7489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Syllabi for the current and previous offerings of the course; </a:t>
          </a:r>
        </a:p>
      </dsp:txBody>
      <dsp:txXfrm>
        <a:off x="2128060" y="39867"/>
        <a:ext cx="8378045" cy="748989"/>
      </dsp:txXfrm>
    </dsp:sp>
    <dsp:sp modelId="{7173D007-8D46-425F-8F0F-39878BA506C0}">
      <dsp:nvSpPr>
        <dsp:cNvPr id="0" name=""/>
        <dsp:cNvSpPr/>
      </dsp:nvSpPr>
      <dsp:spPr>
        <a:xfrm>
          <a:off x="1979591" y="788857"/>
          <a:ext cx="7918365" cy="0"/>
        </a:xfrm>
        <a:prstGeom prst="line">
          <a:avLst/>
        </a:prstGeom>
        <a:noFill/>
        <a:ln w="63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1">
          <a:scrgbClr r="0" g="0" b="0"/>
        </a:effectRef>
        <a:fontRef idx="minor"/>
      </dsp:style>
    </dsp:sp>
    <dsp:sp modelId="{083998BE-E53B-45B9-BA93-F444F33BE460}">
      <dsp:nvSpPr>
        <dsp:cNvPr id="0" name=""/>
        <dsp:cNvSpPr/>
      </dsp:nvSpPr>
      <dsp:spPr>
        <a:xfrm>
          <a:off x="0" y="827112"/>
          <a:ext cx="10514012" cy="0"/>
        </a:xfrm>
        <a:prstGeom prst="line">
          <a:avLst/>
        </a:prstGeom>
        <a:gradFill rotWithShape="0">
          <a:gsLst>
            <a:gs pos="0">
              <a:schemeClr val="accent2">
                <a:shade val="50000"/>
                <a:hueOff val="-197058"/>
                <a:satOff val="2594"/>
                <a:lumOff val="15539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shade val="50000"/>
                <a:hueOff val="-197058"/>
                <a:satOff val="2594"/>
                <a:lumOff val="15539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shade val="50000"/>
                <a:hueOff val="-197058"/>
                <a:satOff val="2594"/>
                <a:lumOff val="15539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2">
              <a:shade val="50000"/>
              <a:hueOff val="-197058"/>
              <a:satOff val="2594"/>
              <a:lumOff val="15539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908AA3D2-8C35-4447-AF4E-9632D9CB3C62}">
      <dsp:nvSpPr>
        <dsp:cNvPr id="0" name=""/>
        <dsp:cNvSpPr/>
      </dsp:nvSpPr>
      <dsp:spPr>
        <a:xfrm>
          <a:off x="0" y="827112"/>
          <a:ext cx="1979591" cy="8246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4780" tIns="144780" rIns="144780" bIns="144780" numCol="1" spcCol="1270" anchor="t" anchorCtr="0">
          <a:noAutofit/>
        </a:bodyPr>
        <a:lstStyle/>
        <a:p>
          <a:pPr marL="0" lvl="0" indent="0" algn="l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800" kern="1200" dirty="0"/>
            <a:t>C2 </a:t>
          </a:r>
        </a:p>
      </dsp:txBody>
      <dsp:txXfrm>
        <a:off x="0" y="827112"/>
        <a:ext cx="1979591" cy="824693"/>
      </dsp:txXfrm>
    </dsp:sp>
    <dsp:sp modelId="{3266BF17-4F66-4BB7-925B-CFC5A250BAF6}">
      <dsp:nvSpPr>
        <dsp:cNvPr id="0" name=""/>
        <dsp:cNvSpPr/>
      </dsp:nvSpPr>
      <dsp:spPr>
        <a:xfrm>
          <a:off x="2128060" y="864561"/>
          <a:ext cx="8378045" cy="7489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Copies of all instructor teaching materials; </a:t>
          </a:r>
        </a:p>
      </dsp:txBody>
      <dsp:txXfrm>
        <a:off x="2128060" y="864561"/>
        <a:ext cx="8378045" cy="748989"/>
      </dsp:txXfrm>
    </dsp:sp>
    <dsp:sp modelId="{D3A74726-65BB-4D7C-8CBA-DF852A82A1A6}">
      <dsp:nvSpPr>
        <dsp:cNvPr id="0" name=""/>
        <dsp:cNvSpPr/>
      </dsp:nvSpPr>
      <dsp:spPr>
        <a:xfrm>
          <a:off x="1979591" y="1613551"/>
          <a:ext cx="7918365" cy="0"/>
        </a:xfrm>
        <a:prstGeom prst="line">
          <a:avLst/>
        </a:prstGeom>
        <a:noFill/>
        <a:ln w="63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1">
          <a:scrgbClr r="0" g="0" b="0"/>
        </a:effectRef>
        <a:fontRef idx="minor"/>
      </dsp:style>
    </dsp:sp>
    <dsp:sp modelId="{B6F21808-95A1-468E-A922-F0EE6627DE0A}">
      <dsp:nvSpPr>
        <dsp:cNvPr id="0" name=""/>
        <dsp:cNvSpPr/>
      </dsp:nvSpPr>
      <dsp:spPr>
        <a:xfrm>
          <a:off x="0" y="1651806"/>
          <a:ext cx="10514012" cy="0"/>
        </a:xfrm>
        <a:prstGeom prst="line">
          <a:avLst/>
        </a:prstGeom>
        <a:gradFill rotWithShape="0">
          <a:gsLst>
            <a:gs pos="0">
              <a:schemeClr val="accent2">
                <a:shade val="50000"/>
                <a:hueOff val="-394115"/>
                <a:satOff val="5189"/>
                <a:lumOff val="31078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shade val="50000"/>
                <a:hueOff val="-394115"/>
                <a:satOff val="5189"/>
                <a:lumOff val="31078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shade val="50000"/>
                <a:hueOff val="-394115"/>
                <a:satOff val="5189"/>
                <a:lumOff val="31078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2">
              <a:shade val="50000"/>
              <a:hueOff val="-394115"/>
              <a:satOff val="5189"/>
              <a:lumOff val="31078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372A72F2-9CC1-4D16-B5B9-CA3838D88F15}">
      <dsp:nvSpPr>
        <dsp:cNvPr id="0" name=""/>
        <dsp:cNvSpPr/>
      </dsp:nvSpPr>
      <dsp:spPr>
        <a:xfrm>
          <a:off x="0" y="1651806"/>
          <a:ext cx="1979591" cy="8246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4780" tIns="144780" rIns="144780" bIns="144780" numCol="1" spcCol="1270" anchor="t" anchorCtr="0">
          <a:noAutofit/>
        </a:bodyPr>
        <a:lstStyle/>
        <a:p>
          <a:pPr marL="0" lvl="0" indent="0" algn="l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800" kern="1200" dirty="0"/>
            <a:t>C3 </a:t>
          </a:r>
        </a:p>
      </dsp:txBody>
      <dsp:txXfrm>
        <a:off x="0" y="1651806"/>
        <a:ext cx="1979591" cy="824693"/>
      </dsp:txXfrm>
    </dsp:sp>
    <dsp:sp modelId="{60F3791A-2330-48B2-8908-A9F47A5B80C2}">
      <dsp:nvSpPr>
        <dsp:cNvPr id="0" name=""/>
        <dsp:cNvSpPr/>
      </dsp:nvSpPr>
      <dsp:spPr>
        <a:xfrm>
          <a:off x="2128060" y="1689255"/>
          <a:ext cx="8378045" cy="7489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Copies of all assessment instruments; </a:t>
          </a:r>
        </a:p>
      </dsp:txBody>
      <dsp:txXfrm>
        <a:off x="2128060" y="1689255"/>
        <a:ext cx="8378045" cy="748989"/>
      </dsp:txXfrm>
    </dsp:sp>
    <dsp:sp modelId="{32527A27-1126-43DF-ACF9-A2355400D96A}">
      <dsp:nvSpPr>
        <dsp:cNvPr id="0" name=""/>
        <dsp:cNvSpPr/>
      </dsp:nvSpPr>
      <dsp:spPr>
        <a:xfrm>
          <a:off x="1979591" y="2438245"/>
          <a:ext cx="7918365" cy="0"/>
        </a:xfrm>
        <a:prstGeom prst="line">
          <a:avLst/>
        </a:prstGeom>
        <a:noFill/>
        <a:ln w="63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1">
          <a:scrgbClr r="0" g="0" b="0"/>
        </a:effectRef>
        <a:fontRef idx="minor"/>
      </dsp:style>
    </dsp:sp>
    <dsp:sp modelId="{7F5F788B-7EA1-4C83-8C71-C987DCC2BFEB}">
      <dsp:nvSpPr>
        <dsp:cNvPr id="0" name=""/>
        <dsp:cNvSpPr/>
      </dsp:nvSpPr>
      <dsp:spPr>
        <a:xfrm>
          <a:off x="0" y="2476500"/>
          <a:ext cx="10514012" cy="0"/>
        </a:xfrm>
        <a:prstGeom prst="line">
          <a:avLst/>
        </a:prstGeom>
        <a:gradFill rotWithShape="0">
          <a:gsLst>
            <a:gs pos="0">
              <a:schemeClr val="accent2">
                <a:shade val="50000"/>
                <a:hueOff val="-591173"/>
                <a:satOff val="7783"/>
                <a:lumOff val="46617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shade val="50000"/>
                <a:hueOff val="-591173"/>
                <a:satOff val="7783"/>
                <a:lumOff val="46617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shade val="50000"/>
                <a:hueOff val="-591173"/>
                <a:satOff val="7783"/>
                <a:lumOff val="46617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2">
              <a:shade val="50000"/>
              <a:hueOff val="-591173"/>
              <a:satOff val="7783"/>
              <a:lumOff val="46617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087B7962-8D2E-4063-A8FA-B985C2AEC481}">
      <dsp:nvSpPr>
        <dsp:cNvPr id="0" name=""/>
        <dsp:cNvSpPr/>
      </dsp:nvSpPr>
      <dsp:spPr>
        <a:xfrm>
          <a:off x="0" y="2476500"/>
          <a:ext cx="1979591" cy="8246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4780" tIns="144780" rIns="144780" bIns="144780" numCol="1" spcCol="1270" anchor="t" anchorCtr="0">
          <a:noAutofit/>
        </a:bodyPr>
        <a:lstStyle/>
        <a:p>
          <a:pPr marL="0" lvl="0" indent="0" algn="l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800" kern="1200" dirty="0"/>
            <a:t>C4 </a:t>
          </a:r>
        </a:p>
      </dsp:txBody>
      <dsp:txXfrm>
        <a:off x="0" y="2476500"/>
        <a:ext cx="1979591" cy="824693"/>
      </dsp:txXfrm>
    </dsp:sp>
    <dsp:sp modelId="{B2F173E9-4EAC-4086-A485-A703BDD2CBEC}">
      <dsp:nvSpPr>
        <dsp:cNvPr id="0" name=""/>
        <dsp:cNvSpPr/>
      </dsp:nvSpPr>
      <dsp:spPr>
        <a:xfrm>
          <a:off x="2128060" y="2513949"/>
          <a:ext cx="8378045" cy="7489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Instructor worked answers and marking schemes for all assessment instruments; </a:t>
          </a:r>
        </a:p>
      </dsp:txBody>
      <dsp:txXfrm>
        <a:off x="2128060" y="2513949"/>
        <a:ext cx="8378045" cy="748989"/>
      </dsp:txXfrm>
    </dsp:sp>
    <dsp:sp modelId="{929F2312-2D7C-4689-A72B-B1D9C982B74F}">
      <dsp:nvSpPr>
        <dsp:cNvPr id="0" name=""/>
        <dsp:cNvSpPr/>
      </dsp:nvSpPr>
      <dsp:spPr>
        <a:xfrm>
          <a:off x="1979591" y="3262939"/>
          <a:ext cx="7918365" cy="0"/>
        </a:xfrm>
        <a:prstGeom prst="line">
          <a:avLst/>
        </a:prstGeom>
        <a:noFill/>
        <a:ln w="63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1">
          <a:scrgbClr r="0" g="0" b="0"/>
        </a:effectRef>
        <a:fontRef idx="minor"/>
      </dsp:style>
    </dsp:sp>
    <dsp:sp modelId="{CB12A1A4-2DE7-40BA-B051-24F72025E2EE}">
      <dsp:nvSpPr>
        <dsp:cNvPr id="0" name=""/>
        <dsp:cNvSpPr/>
      </dsp:nvSpPr>
      <dsp:spPr>
        <a:xfrm>
          <a:off x="0" y="3301193"/>
          <a:ext cx="10514012" cy="0"/>
        </a:xfrm>
        <a:prstGeom prst="line">
          <a:avLst/>
        </a:prstGeom>
        <a:gradFill rotWithShape="0">
          <a:gsLst>
            <a:gs pos="0">
              <a:schemeClr val="accent2">
                <a:shade val="50000"/>
                <a:hueOff val="-394115"/>
                <a:satOff val="5189"/>
                <a:lumOff val="31078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shade val="50000"/>
                <a:hueOff val="-394115"/>
                <a:satOff val="5189"/>
                <a:lumOff val="31078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shade val="50000"/>
                <a:hueOff val="-394115"/>
                <a:satOff val="5189"/>
                <a:lumOff val="31078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2">
              <a:shade val="50000"/>
              <a:hueOff val="-394115"/>
              <a:satOff val="5189"/>
              <a:lumOff val="31078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4B654F27-78BD-4139-A81E-4A79ED0B987C}">
      <dsp:nvSpPr>
        <dsp:cNvPr id="0" name=""/>
        <dsp:cNvSpPr/>
      </dsp:nvSpPr>
      <dsp:spPr>
        <a:xfrm>
          <a:off x="0" y="3301193"/>
          <a:ext cx="1979591" cy="8246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4780" tIns="144780" rIns="144780" bIns="144780" numCol="1" spcCol="1270" anchor="t" anchorCtr="0">
          <a:noAutofit/>
        </a:bodyPr>
        <a:lstStyle/>
        <a:p>
          <a:pPr marL="0" lvl="0" indent="0" algn="l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800" kern="1200" dirty="0"/>
            <a:t>C5 </a:t>
          </a:r>
        </a:p>
      </dsp:txBody>
      <dsp:txXfrm>
        <a:off x="0" y="3301193"/>
        <a:ext cx="1979591" cy="824693"/>
      </dsp:txXfrm>
    </dsp:sp>
    <dsp:sp modelId="{D54A0B9F-3024-4A10-A47C-3C94C40E1D31}">
      <dsp:nvSpPr>
        <dsp:cNvPr id="0" name=""/>
        <dsp:cNvSpPr/>
      </dsp:nvSpPr>
      <dsp:spPr>
        <a:xfrm>
          <a:off x="2128060" y="3338643"/>
          <a:ext cx="8378045" cy="7489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Examples from across the range of student performance of graded responses to all assessment instruments; </a:t>
          </a:r>
        </a:p>
      </dsp:txBody>
      <dsp:txXfrm>
        <a:off x="2128060" y="3338643"/>
        <a:ext cx="8378045" cy="748989"/>
      </dsp:txXfrm>
    </dsp:sp>
    <dsp:sp modelId="{0C4365BA-32AD-4D45-B4F3-7644D1A38F44}">
      <dsp:nvSpPr>
        <dsp:cNvPr id="0" name=""/>
        <dsp:cNvSpPr/>
      </dsp:nvSpPr>
      <dsp:spPr>
        <a:xfrm>
          <a:off x="1979591" y="4087632"/>
          <a:ext cx="7918365" cy="0"/>
        </a:xfrm>
        <a:prstGeom prst="line">
          <a:avLst/>
        </a:prstGeom>
        <a:noFill/>
        <a:ln w="63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1">
          <a:scrgbClr r="0" g="0" b="0"/>
        </a:effectRef>
        <a:fontRef idx="minor"/>
      </dsp:style>
    </dsp:sp>
    <dsp:sp modelId="{EDE2A60B-502D-4D1A-8E9D-09D86BB5AE1A}">
      <dsp:nvSpPr>
        <dsp:cNvPr id="0" name=""/>
        <dsp:cNvSpPr/>
      </dsp:nvSpPr>
      <dsp:spPr>
        <a:xfrm>
          <a:off x="0" y="4125887"/>
          <a:ext cx="10514012" cy="0"/>
        </a:xfrm>
        <a:prstGeom prst="line">
          <a:avLst/>
        </a:prstGeom>
        <a:gradFill rotWithShape="0">
          <a:gsLst>
            <a:gs pos="0">
              <a:schemeClr val="accent2">
                <a:shade val="50000"/>
                <a:hueOff val="-197058"/>
                <a:satOff val="2594"/>
                <a:lumOff val="15539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shade val="50000"/>
                <a:hueOff val="-197058"/>
                <a:satOff val="2594"/>
                <a:lumOff val="15539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shade val="50000"/>
                <a:hueOff val="-197058"/>
                <a:satOff val="2594"/>
                <a:lumOff val="15539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2">
              <a:shade val="50000"/>
              <a:hueOff val="-197058"/>
              <a:satOff val="2594"/>
              <a:lumOff val="15539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56A1596C-6160-483A-BAE8-13E99A84BA00}">
      <dsp:nvSpPr>
        <dsp:cNvPr id="0" name=""/>
        <dsp:cNvSpPr/>
      </dsp:nvSpPr>
      <dsp:spPr>
        <a:xfrm>
          <a:off x="0" y="4125887"/>
          <a:ext cx="1979591" cy="8246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4780" tIns="144780" rIns="144780" bIns="144780" numCol="1" spcCol="1270" anchor="t" anchorCtr="0">
          <a:noAutofit/>
        </a:bodyPr>
        <a:lstStyle/>
        <a:p>
          <a:pPr marL="0" lvl="0" indent="0" algn="l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800" kern="1200" dirty="0"/>
            <a:t>C6 </a:t>
          </a:r>
        </a:p>
      </dsp:txBody>
      <dsp:txXfrm>
        <a:off x="0" y="4125887"/>
        <a:ext cx="1979591" cy="824693"/>
      </dsp:txXfrm>
    </dsp:sp>
    <dsp:sp modelId="{4143D053-8B91-49D9-8621-692A005A8018}">
      <dsp:nvSpPr>
        <dsp:cNvPr id="0" name=""/>
        <dsp:cNvSpPr/>
      </dsp:nvSpPr>
      <dsp:spPr>
        <a:xfrm>
          <a:off x="2128060" y="4163337"/>
          <a:ext cx="8378045" cy="7489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Student attendance data</a:t>
          </a:r>
        </a:p>
      </dsp:txBody>
      <dsp:txXfrm>
        <a:off x="2128060" y="4163337"/>
        <a:ext cx="8378045" cy="748989"/>
      </dsp:txXfrm>
    </dsp:sp>
    <dsp:sp modelId="{B0391703-7F80-498C-B172-47CDCC58B6B7}">
      <dsp:nvSpPr>
        <dsp:cNvPr id="0" name=""/>
        <dsp:cNvSpPr/>
      </dsp:nvSpPr>
      <dsp:spPr>
        <a:xfrm>
          <a:off x="1979591" y="4912326"/>
          <a:ext cx="7918365" cy="0"/>
        </a:xfrm>
        <a:prstGeom prst="line">
          <a:avLst/>
        </a:prstGeom>
        <a:noFill/>
        <a:ln w="63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A82BD41-2052-4029-81D7-13B69B518552}">
      <dsp:nvSpPr>
        <dsp:cNvPr id="0" name=""/>
        <dsp:cNvSpPr/>
      </dsp:nvSpPr>
      <dsp:spPr>
        <a:xfrm>
          <a:off x="0" y="3651"/>
          <a:ext cx="10514012" cy="0"/>
        </a:xfrm>
        <a:prstGeom prst="line">
          <a:avLst/>
        </a:prstGeom>
        <a:gradFill rotWithShape="0">
          <a:gsLst>
            <a:gs pos="0">
              <a:schemeClr val="accent2">
                <a:shade val="5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shade val="5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shade val="5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2">
              <a:shade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36452E3B-8D08-42AF-ACEE-967E79A5B626}">
      <dsp:nvSpPr>
        <dsp:cNvPr id="0" name=""/>
        <dsp:cNvSpPr/>
      </dsp:nvSpPr>
      <dsp:spPr>
        <a:xfrm>
          <a:off x="0" y="3651"/>
          <a:ext cx="757765" cy="100387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125730" rIns="125730" bIns="125730" numCol="1" spcCol="1270" anchor="t" anchorCtr="0">
          <a:noAutofit/>
        </a:bodyPr>
        <a:lstStyle/>
        <a:p>
          <a:pPr marL="0" lvl="0" indent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300" kern="1200" dirty="0"/>
            <a:t>C7</a:t>
          </a:r>
        </a:p>
      </dsp:txBody>
      <dsp:txXfrm>
        <a:off x="0" y="3651"/>
        <a:ext cx="757765" cy="1003873"/>
      </dsp:txXfrm>
    </dsp:sp>
    <dsp:sp modelId="{281C7CE5-AB78-4E0A-B26D-78BFEE76AC09}">
      <dsp:nvSpPr>
        <dsp:cNvPr id="0" name=""/>
        <dsp:cNvSpPr/>
      </dsp:nvSpPr>
      <dsp:spPr>
        <a:xfrm>
          <a:off x="915476" y="136811"/>
          <a:ext cx="2006500" cy="266320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t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A comprehensive instructor review of the presentation of the course, covering:</a:t>
          </a:r>
        </a:p>
      </dsp:txBody>
      <dsp:txXfrm>
        <a:off x="915476" y="136811"/>
        <a:ext cx="2006500" cy="2663203"/>
      </dsp:txXfrm>
    </dsp:sp>
    <dsp:sp modelId="{4A927EB6-504E-485C-AE77-108A0BB824EA}">
      <dsp:nvSpPr>
        <dsp:cNvPr id="0" name=""/>
        <dsp:cNvSpPr/>
      </dsp:nvSpPr>
      <dsp:spPr>
        <a:xfrm>
          <a:off x="3079687" y="136811"/>
          <a:ext cx="7406392" cy="3329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Appropriateness of the course learning outcomes; </a:t>
          </a:r>
        </a:p>
      </dsp:txBody>
      <dsp:txXfrm>
        <a:off x="3079687" y="136811"/>
        <a:ext cx="7406392" cy="332900"/>
      </dsp:txXfrm>
    </dsp:sp>
    <dsp:sp modelId="{D7B11AF6-3FB4-4E24-A19A-DB9727153A24}">
      <dsp:nvSpPr>
        <dsp:cNvPr id="0" name=""/>
        <dsp:cNvSpPr/>
      </dsp:nvSpPr>
      <dsp:spPr>
        <a:xfrm>
          <a:off x="2921976" y="469711"/>
          <a:ext cx="4047894" cy="0"/>
        </a:xfrm>
        <a:prstGeom prst="line">
          <a:avLst/>
        </a:prstGeom>
        <a:noFill/>
        <a:ln w="63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1">
          <a:scrgbClr r="0" g="0" b="0"/>
        </a:effectRef>
        <a:fontRef idx="minor"/>
      </dsp:style>
    </dsp:sp>
    <dsp:sp modelId="{4C0E5DDB-727B-43B4-99DD-FB3B68DF2F0A}">
      <dsp:nvSpPr>
        <dsp:cNvPr id="0" name=""/>
        <dsp:cNvSpPr/>
      </dsp:nvSpPr>
      <dsp:spPr>
        <a:xfrm>
          <a:off x="3079687" y="469711"/>
          <a:ext cx="7406392" cy="3329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Extent to which the syllabus was covered; </a:t>
          </a:r>
        </a:p>
      </dsp:txBody>
      <dsp:txXfrm>
        <a:off x="3079687" y="469711"/>
        <a:ext cx="7406392" cy="332900"/>
      </dsp:txXfrm>
    </dsp:sp>
    <dsp:sp modelId="{CB539878-81F1-4E1A-9973-5ED877492FF8}">
      <dsp:nvSpPr>
        <dsp:cNvPr id="0" name=""/>
        <dsp:cNvSpPr/>
      </dsp:nvSpPr>
      <dsp:spPr>
        <a:xfrm>
          <a:off x="2921976" y="802612"/>
          <a:ext cx="4047894" cy="0"/>
        </a:xfrm>
        <a:prstGeom prst="line">
          <a:avLst/>
        </a:prstGeom>
        <a:noFill/>
        <a:ln w="63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1">
          <a:scrgbClr r="0" g="0" b="0"/>
        </a:effectRef>
        <a:fontRef idx="minor"/>
      </dsp:style>
    </dsp:sp>
    <dsp:sp modelId="{4B55E822-D402-407B-BC5D-1D7F3B5346F9}">
      <dsp:nvSpPr>
        <dsp:cNvPr id="0" name=""/>
        <dsp:cNvSpPr/>
      </dsp:nvSpPr>
      <dsp:spPr>
        <a:xfrm>
          <a:off x="3079687" y="802612"/>
          <a:ext cx="7406392" cy="3329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Extent to which learning outcomes were met (with evidence); </a:t>
          </a:r>
        </a:p>
      </dsp:txBody>
      <dsp:txXfrm>
        <a:off x="3079687" y="802612"/>
        <a:ext cx="7406392" cy="332900"/>
      </dsp:txXfrm>
    </dsp:sp>
    <dsp:sp modelId="{24D2B96D-3311-4F98-8C6C-13383BFBABC1}">
      <dsp:nvSpPr>
        <dsp:cNvPr id="0" name=""/>
        <dsp:cNvSpPr/>
      </dsp:nvSpPr>
      <dsp:spPr>
        <a:xfrm>
          <a:off x="2921976" y="1135512"/>
          <a:ext cx="4047894" cy="0"/>
        </a:xfrm>
        <a:prstGeom prst="line">
          <a:avLst/>
        </a:prstGeom>
        <a:noFill/>
        <a:ln w="63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1">
          <a:scrgbClr r="0" g="0" b="0"/>
        </a:effectRef>
        <a:fontRef idx="minor"/>
      </dsp:style>
    </dsp:sp>
    <dsp:sp modelId="{F605700F-B87B-4C47-85ED-301E87F3C3DB}">
      <dsp:nvSpPr>
        <dsp:cNvPr id="0" name=""/>
        <dsp:cNvSpPr/>
      </dsp:nvSpPr>
      <dsp:spPr>
        <a:xfrm>
          <a:off x="3079687" y="1135512"/>
          <a:ext cx="7406392" cy="3329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Appropriateness of textbooks and other learning resources; </a:t>
          </a:r>
        </a:p>
      </dsp:txBody>
      <dsp:txXfrm>
        <a:off x="3079687" y="1135512"/>
        <a:ext cx="7406392" cy="332900"/>
      </dsp:txXfrm>
    </dsp:sp>
    <dsp:sp modelId="{6F59587C-3F12-4316-AC77-7934320914FB}">
      <dsp:nvSpPr>
        <dsp:cNvPr id="0" name=""/>
        <dsp:cNvSpPr/>
      </dsp:nvSpPr>
      <dsp:spPr>
        <a:xfrm>
          <a:off x="2921976" y="1468412"/>
          <a:ext cx="4047894" cy="0"/>
        </a:xfrm>
        <a:prstGeom prst="line">
          <a:avLst/>
        </a:prstGeom>
        <a:noFill/>
        <a:ln w="63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1">
          <a:scrgbClr r="0" g="0" b="0"/>
        </a:effectRef>
        <a:fontRef idx="minor"/>
      </dsp:style>
    </dsp:sp>
    <dsp:sp modelId="{A13DC012-22ED-4571-9A32-C6943E476580}">
      <dsp:nvSpPr>
        <dsp:cNvPr id="0" name=""/>
        <dsp:cNvSpPr/>
      </dsp:nvSpPr>
      <dsp:spPr>
        <a:xfrm>
          <a:off x="3079687" y="1468412"/>
          <a:ext cx="7406392" cy="3329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Appropriateness of assessment instruments in relation to learning outcomes; </a:t>
          </a:r>
        </a:p>
      </dsp:txBody>
      <dsp:txXfrm>
        <a:off x="3079687" y="1468412"/>
        <a:ext cx="7406392" cy="332900"/>
      </dsp:txXfrm>
    </dsp:sp>
    <dsp:sp modelId="{2A3D6812-F8EF-4385-A0BE-594D1B74D6EA}">
      <dsp:nvSpPr>
        <dsp:cNvPr id="0" name=""/>
        <dsp:cNvSpPr/>
      </dsp:nvSpPr>
      <dsp:spPr>
        <a:xfrm>
          <a:off x="2921976" y="1801313"/>
          <a:ext cx="4047894" cy="0"/>
        </a:xfrm>
        <a:prstGeom prst="line">
          <a:avLst/>
        </a:prstGeom>
        <a:noFill/>
        <a:ln w="63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1">
          <a:scrgbClr r="0" g="0" b="0"/>
        </a:effectRef>
        <a:fontRef idx="minor"/>
      </dsp:style>
    </dsp:sp>
    <dsp:sp modelId="{C10564CA-C172-4561-8233-5C085ACC6B52}">
      <dsp:nvSpPr>
        <dsp:cNvPr id="0" name=""/>
        <dsp:cNvSpPr/>
      </dsp:nvSpPr>
      <dsp:spPr>
        <a:xfrm>
          <a:off x="3079687" y="1801313"/>
          <a:ext cx="7406392" cy="3329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Appropriateness of the balance of assessment; </a:t>
          </a:r>
        </a:p>
      </dsp:txBody>
      <dsp:txXfrm>
        <a:off x="3079687" y="1801313"/>
        <a:ext cx="7406392" cy="332900"/>
      </dsp:txXfrm>
    </dsp:sp>
    <dsp:sp modelId="{DBBAA085-8785-4E79-ACA6-8124FAA7AA74}">
      <dsp:nvSpPr>
        <dsp:cNvPr id="0" name=""/>
        <dsp:cNvSpPr/>
      </dsp:nvSpPr>
      <dsp:spPr>
        <a:xfrm>
          <a:off x="2921976" y="2134213"/>
          <a:ext cx="4047894" cy="0"/>
        </a:xfrm>
        <a:prstGeom prst="line">
          <a:avLst/>
        </a:prstGeom>
        <a:noFill/>
        <a:ln w="63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1">
          <a:scrgbClr r="0" g="0" b="0"/>
        </a:effectRef>
        <a:fontRef idx="minor"/>
      </dsp:style>
    </dsp:sp>
    <dsp:sp modelId="{AEE592D0-F64E-4660-989D-063493474F0E}">
      <dsp:nvSpPr>
        <dsp:cNvPr id="0" name=""/>
        <dsp:cNvSpPr/>
      </dsp:nvSpPr>
      <dsp:spPr>
        <a:xfrm>
          <a:off x="3079687" y="2134213"/>
          <a:ext cx="7406392" cy="3329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Appropriateness of prerequisites; </a:t>
          </a:r>
        </a:p>
      </dsp:txBody>
      <dsp:txXfrm>
        <a:off x="3079687" y="2134213"/>
        <a:ext cx="7406392" cy="332900"/>
      </dsp:txXfrm>
    </dsp:sp>
    <dsp:sp modelId="{B87CF14C-E465-48E3-A586-4BA2CD7FD08D}">
      <dsp:nvSpPr>
        <dsp:cNvPr id="0" name=""/>
        <dsp:cNvSpPr/>
      </dsp:nvSpPr>
      <dsp:spPr>
        <a:xfrm>
          <a:off x="2921976" y="2467114"/>
          <a:ext cx="4047894" cy="0"/>
        </a:xfrm>
        <a:prstGeom prst="line">
          <a:avLst/>
        </a:prstGeom>
        <a:noFill/>
        <a:ln w="63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1">
          <a:scrgbClr r="0" g="0" b="0"/>
        </a:effectRef>
        <a:fontRef idx="minor"/>
      </dsp:style>
    </dsp:sp>
    <dsp:sp modelId="{550D4FEF-6C2A-4009-830E-5EE751A8A5D9}">
      <dsp:nvSpPr>
        <dsp:cNvPr id="0" name=""/>
        <dsp:cNvSpPr/>
      </dsp:nvSpPr>
      <dsp:spPr>
        <a:xfrm>
          <a:off x="3079687" y="2467114"/>
          <a:ext cx="7406392" cy="3329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General comments on any problems encountered with the course; </a:t>
          </a:r>
        </a:p>
      </dsp:txBody>
      <dsp:txXfrm>
        <a:off x="3079687" y="2467114"/>
        <a:ext cx="7406392" cy="332900"/>
      </dsp:txXfrm>
    </dsp:sp>
    <dsp:sp modelId="{C96E96F5-3692-420B-A9B4-1EBF63A6A933}">
      <dsp:nvSpPr>
        <dsp:cNvPr id="0" name=""/>
        <dsp:cNvSpPr/>
      </dsp:nvSpPr>
      <dsp:spPr>
        <a:xfrm>
          <a:off x="757765" y="2800014"/>
          <a:ext cx="8411209" cy="0"/>
        </a:xfrm>
        <a:prstGeom prst="line">
          <a:avLst/>
        </a:prstGeom>
        <a:noFill/>
        <a:ln w="63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1">
          <a:scrgbClr r="0" g="0" b="0"/>
        </a:effectRef>
        <a:fontRef idx="minor"/>
      </dsp:style>
    </dsp:sp>
    <dsp:sp modelId="{D6D7D62A-0F44-4CE1-B2F9-94E0992C82EF}">
      <dsp:nvSpPr>
        <dsp:cNvPr id="0" name=""/>
        <dsp:cNvSpPr/>
      </dsp:nvSpPr>
      <dsp:spPr>
        <a:xfrm>
          <a:off x="0" y="2933174"/>
          <a:ext cx="10514012" cy="0"/>
        </a:xfrm>
        <a:prstGeom prst="line">
          <a:avLst/>
        </a:prstGeom>
        <a:gradFill rotWithShape="0">
          <a:gsLst>
            <a:gs pos="0">
              <a:schemeClr val="accent2">
                <a:shade val="50000"/>
                <a:hueOff val="-394115"/>
                <a:satOff val="5189"/>
                <a:lumOff val="31078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shade val="50000"/>
                <a:hueOff val="-394115"/>
                <a:satOff val="5189"/>
                <a:lumOff val="31078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shade val="50000"/>
                <a:hueOff val="-394115"/>
                <a:satOff val="5189"/>
                <a:lumOff val="31078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2">
              <a:shade val="50000"/>
              <a:hueOff val="-394115"/>
              <a:satOff val="5189"/>
              <a:lumOff val="31078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6B772905-AFBF-4F53-B842-F76BE90805CE}">
      <dsp:nvSpPr>
        <dsp:cNvPr id="0" name=""/>
        <dsp:cNvSpPr/>
      </dsp:nvSpPr>
      <dsp:spPr>
        <a:xfrm>
          <a:off x="0" y="2933174"/>
          <a:ext cx="724078" cy="73265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125730" rIns="125730" bIns="125730" numCol="1" spcCol="1270" anchor="t" anchorCtr="0">
          <a:noAutofit/>
        </a:bodyPr>
        <a:lstStyle/>
        <a:p>
          <a:pPr marL="0" lvl="0" indent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300" kern="1200" dirty="0"/>
            <a:t>C8</a:t>
          </a:r>
        </a:p>
      </dsp:txBody>
      <dsp:txXfrm>
        <a:off x="0" y="2933174"/>
        <a:ext cx="724078" cy="732656"/>
      </dsp:txXfrm>
    </dsp:sp>
    <dsp:sp modelId="{8BEB6FC9-A832-42FA-9D26-9FFB431CE277}">
      <dsp:nvSpPr>
        <dsp:cNvPr id="0" name=""/>
        <dsp:cNvSpPr/>
      </dsp:nvSpPr>
      <dsp:spPr>
        <a:xfrm>
          <a:off x="868697" y="3079650"/>
          <a:ext cx="9641257" cy="80260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t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Quantitative analysis of student performance during the course presentation (e.g., grade distributions); </a:t>
          </a:r>
        </a:p>
      </dsp:txBody>
      <dsp:txXfrm>
        <a:off x="868697" y="3079650"/>
        <a:ext cx="9641257" cy="802601"/>
      </dsp:txXfrm>
    </dsp:sp>
    <dsp:sp modelId="{158D0C22-A164-41D1-AE13-9ACA65C84C94}">
      <dsp:nvSpPr>
        <dsp:cNvPr id="0" name=""/>
        <dsp:cNvSpPr/>
      </dsp:nvSpPr>
      <dsp:spPr>
        <a:xfrm>
          <a:off x="724078" y="3882252"/>
          <a:ext cx="7713013" cy="0"/>
        </a:xfrm>
        <a:prstGeom prst="line">
          <a:avLst/>
        </a:prstGeom>
        <a:noFill/>
        <a:ln w="63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1">
          <a:scrgbClr r="0" g="0" b="0"/>
        </a:effectRef>
        <a:fontRef idx="minor"/>
      </dsp:style>
    </dsp:sp>
    <dsp:sp modelId="{061F4AEA-AAAF-4D26-80B6-65ADEEC1FB16}">
      <dsp:nvSpPr>
        <dsp:cNvPr id="0" name=""/>
        <dsp:cNvSpPr/>
      </dsp:nvSpPr>
      <dsp:spPr>
        <a:xfrm>
          <a:off x="0" y="4028728"/>
          <a:ext cx="10514012" cy="0"/>
        </a:xfrm>
        <a:prstGeom prst="line">
          <a:avLst/>
        </a:prstGeom>
        <a:gradFill rotWithShape="0">
          <a:gsLst>
            <a:gs pos="0">
              <a:schemeClr val="accent2">
                <a:shade val="50000"/>
                <a:hueOff val="-394115"/>
                <a:satOff val="5189"/>
                <a:lumOff val="31078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shade val="50000"/>
                <a:hueOff val="-394115"/>
                <a:satOff val="5189"/>
                <a:lumOff val="31078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shade val="50000"/>
                <a:hueOff val="-394115"/>
                <a:satOff val="5189"/>
                <a:lumOff val="31078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2">
              <a:shade val="50000"/>
              <a:hueOff val="-394115"/>
              <a:satOff val="5189"/>
              <a:lumOff val="31078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A6F1F301-6772-439D-9898-B9B8A9CF1E73}">
      <dsp:nvSpPr>
        <dsp:cNvPr id="0" name=""/>
        <dsp:cNvSpPr/>
      </dsp:nvSpPr>
      <dsp:spPr>
        <a:xfrm>
          <a:off x="0" y="4028728"/>
          <a:ext cx="789623" cy="101428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125730" rIns="125730" bIns="125730" numCol="1" spcCol="1270" anchor="t" anchorCtr="0">
          <a:noAutofit/>
        </a:bodyPr>
        <a:lstStyle/>
        <a:p>
          <a:pPr marL="0" lvl="0" indent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300" kern="1200" dirty="0"/>
            <a:t>C9</a:t>
          </a:r>
        </a:p>
      </dsp:txBody>
      <dsp:txXfrm>
        <a:off x="0" y="4028728"/>
        <a:ext cx="789623" cy="1014283"/>
      </dsp:txXfrm>
    </dsp:sp>
    <dsp:sp modelId="{A0FB0EF2-6117-4868-AE6E-99A4F1E82BB4}">
      <dsp:nvSpPr>
        <dsp:cNvPr id="0" name=""/>
        <dsp:cNvSpPr/>
      </dsp:nvSpPr>
      <dsp:spPr>
        <a:xfrm>
          <a:off x="947333" y="4175347"/>
          <a:ext cx="9141846" cy="6743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t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Summary of student feedback on the evaluation of the course.</a:t>
          </a:r>
        </a:p>
      </dsp:txBody>
      <dsp:txXfrm>
        <a:off x="947333" y="4175347"/>
        <a:ext cx="9141846" cy="674302"/>
      </dsp:txXfrm>
    </dsp:sp>
    <dsp:sp modelId="{B8FBCD42-B4D6-4C01-AB5A-71BA04A235B8}">
      <dsp:nvSpPr>
        <dsp:cNvPr id="0" name=""/>
        <dsp:cNvSpPr/>
      </dsp:nvSpPr>
      <dsp:spPr>
        <a:xfrm>
          <a:off x="789623" y="4849650"/>
          <a:ext cx="8411209" cy="0"/>
        </a:xfrm>
        <a:prstGeom prst="line">
          <a:avLst/>
        </a:prstGeom>
        <a:noFill/>
        <a:ln w="63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440BF93-D71B-4FDA-BB1D-04E07BFACB79}">
      <dsp:nvSpPr>
        <dsp:cNvPr id="0" name=""/>
        <dsp:cNvSpPr/>
      </dsp:nvSpPr>
      <dsp:spPr>
        <a:xfrm>
          <a:off x="0" y="78450"/>
          <a:ext cx="10514012" cy="839474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l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500" b="0" i="0" kern="1200" dirty="0"/>
            <a:t>COS_ORGANIZATION</a:t>
          </a:r>
          <a:endParaRPr lang="en-US" sz="3500" kern="1200" dirty="0"/>
        </a:p>
      </dsp:txBody>
      <dsp:txXfrm>
        <a:off x="40980" y="119430"/>
        <a:ext cx="10432052" cy="757514"/>
      </dsp:txXfrm>
    </dsp:sp>
    <dsp:sp modelId="{56CA467F-7873-4FAE-9095-4EF27B8F51D5}">
      <dsp:nvSpPr>
        <dsp:cNvPr id="0" name=""/>
        <dsp:cNvSpPr/>
      </dsp:nvSpPr>
      <dsp:spPr>
        <a:xfrm>
          <a:off x="0" y="1018724"/>
          <a:ext cx="10514012" cy="839474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l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500" kern="1200" dirty="0"/>
            <a:t>College Academic Officer</a:t>
          </a:r>
        </a:p>
      </dsp:txBody>
      <dsp:txXfrm>
        <a:off x="40980" y="1059704"/>
        <a:ext cx="10432052" cy="757514"/>
      </dsp:txXfrm>
    </dsp:sp>
    <dsp:sp modelId="{7B20DD0A-B80E-46C7-BF19-A4282AD865D1}">
      <dsp:nvSpPr>
        <dsp:cNvPr id="0" name=""/>
        <dsp:cNvSpPr/>
      </dsp:nvSpPr>
      <dsp:spPr>
        <a:xfrm>
          <a:off x="0" y="1958999"/>
          <a:ext cx="10514012" cy="839474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l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500" b="0" i="0" kern="1200"/>
            <a:t>Access </a:t>
          </a:r>
          <a:r>
            <a:rPr lang="en-US" sz="3500" b="0" i="0" kern="1200" dirty="0"/>
            <a:t>Permission </a:t>
          </a:r>
          <a:endParaRPr lang="en-US" sz="3500" kern="1200" dirty="0"/>
        </a:p>
      </dsp:txBody>
      <dsp:txXfrm>
        <a:off x="40980" y="1999979"/>
        <a:ext cx="10432052" cy="757514"/>
      </dsp:txXfrm>
    </dsp:sp>
    <dsp:sp modelId="{A7714899-45AD-4A2A-812D-A18B6355285D}">
      <dsp:nvSpPr>
        <dsp:cNvPr id="0" name=""/>
        <dsp:cNvSpPr/>
      </dsp:nvSpPr>
      <dsp:spPr>
        <a:xfrm>
          <a:off x="0" y="2798474"/>
          <a:ext cx="10514012" cy="18474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3820" tIns="44450" rIns="248920" bIns="44450" numCol="1" spcCol="1270" anchor="t" anchorCtr="0">
          <a:noAutofit/>
        </a:bodyPr>
        <a:lstStyle/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700" kern="1200" dirty="0"/>
            <a:t>Read </a:t>
          </a:r>
        </a:p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700" b="0" i="0" kern="1200" dirty="0"/>
            <a:t>Write </a:t>
          </a:r>
          <a:endParaRPr lang="en-US" sz="2700" kern="1200" dirty="0"/>
        </a:p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700" kern="1200" dirty="0"/>
            <a:t>Remove </a:t>
          </a:r>
        </a:p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700" b="0" i="0" kern="1200" dirty="0"/>
            <a:t>Manage</a:t>
          </a:r>
          <a:endParaRPr lang="en-US" sz="2700" kern="1200" dirty="0"/>
        </a:p>
      </dsp:txBody>
      <dsp:txXfrm>
        <a:off x="0" y="2798474"/>
        <a:ext cx="10514012" cy="184747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5/layout/IconCircleLabelList">
  <dgm:title val="Icon Circle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0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44"/>
          <dgm:constr type="h" for="des" forName="compNode" op="equ"/>
          <dgm:constr type="h" for="des" forName="textRect" op="equ"/>
        </dgm:constrLst>
      </dgm:if>
      <dgm:if name="Name5" axis="ch" ptType="node" func="cnt" op="lte" val="3">
        <dgm:constrLst>
          <dgm:constr type="h" for="ch" forName="compNode" refType="h" fact="0.4"/>
          <dgm:constr type="w" for="ch" forName="compNode" val="10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40"/>
          <dgm:constr type="h" for="des" forName="compNode" op="equ"/>
          <dgm:constr type="h" for="des" forName="textRect" op="equ"/>
        </dgm:constrLst>
      </dgm:if>
      <dgm:if name="Name6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2"/>
          <dgm:constr type="h" for="des" forName="compNode" op="equ"/>
          <dgm:constr type="h" for="des" forName="textRect" op="equ"/>
        </dgm:constrLst>
      </dgm:if>
      <dgm:else name="Name7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BgRect" refType="w" fact="0.61"/>
          <dgm:constr type="h" for="ch" forName="iconBgRect" refType="w" refFor="ch" refForName="iconBgRect"/>
          <dgm:constr type="t" for="ch" forName="iconBgRect"/>
          <dgm:constr type="ctrX" for="ch" forName="iconBgRect" refType="w" fact="0.5"/>
          <dgm:constr type="w" for="ch" forName="iconRect" refType="w" fact="0.35"/>
          <dgm:constr type="h" for="ch" forName="iconRect" refType="w" refFor="ch" refForName="iconRect"/>
          <dgm:constr type="ctrX" for="ch" forName="iconRect" refType="ctrX" refFor="ch" refForName="iconBgRect"/>
          <dgm:constr type="ctrY" for="ch" forName="iconRect" refType="ctrY" refFor="ch" refForName="iconBgRect"/>
          <dgm:constr type="h" for="ch" forName="spaceRect" refType="w" fact="0.19"/>
          <dgm:constr type="w" for="ch" forName="spaceRect" refType="w"/>
          <dgm:constr type="l" for="ch" forName="spaceRect"/>
          <dgm:constr type="t" for="ch" forName="spaceRect" refType="b" refFor="ch" refForName="iconBg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BgRect" styleLbl="bgShp">
          <dgm:alg type="sp"/>
          <dgm:shape xmlns:r="http://schemas.openxmlformats.org/officeDocument/2006/relationships" type="ellipse" r:blip="">
            <dgm:adjLst/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9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cap="all"/>
        </a:lvl1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4205F1-10AF-425A-94FC-EF39D85DA0E6}" type="datetimeFigureOut">
              <a:rPr lang="en-US" smtClean="0"/>
              <a:pPr/>
              <a:t>3/7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BC5AEA-1179-4E8D-9D33-5433C559B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65934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5D04BEB4-8FC6-4F43-AE11-AD06C7D50F75}" type="datetimeFigureOut">
              <a:rPr lang="en-US" smtClean="0"/>
              <a:pPr/>
              <a:t>3/7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3C3B537F-9332-45C9-96C3-7D24AA6C965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24847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E02700-5C60-2F4C-8C62-AC4BD349803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71663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8.xml"/><Relationship Id="rId1" Type="http://schemas.openxmlformats.org/officeDocument/2006/relationships/tags" Target="../tags/tag97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99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00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01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02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03.xml"/><Relationship Id="rId4" Type="http://schemas.openxmlformats.org/officeDocument/2006/relationships/image" Target="../media/image19.png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04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0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06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07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08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image" Target="../media/image20.png"/><Relationship Id="rId5" Type="http://schemas.openxmlformats.org/officeDocument/2006/relationships/image" Target="../media/image13.jpeg"/><Relationship Id="rId4" Type="http://schemas.openxmlformats.org/officeDocument/2006/relationships/image" Target="../media/image12.png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12.xml"/><Relationship Id="rId4" Type="http://schemas.openxmlformats.org/officeDocument/2006/relationships/image" Target="../media/image4.png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5" Type="http://schemas.openxmlformats.org/officeDocument/2006/relationships/image" Target="../media/image21.png"/><Relationship Id="rId4" Type="http://schemas.openxmlformats.org/officeDocument/2006/relationships/image" Target="../media/image4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15.xml"/><Relationship Id="rId4" Type="http://schemas.openxmlformats.org/officeDocument/2006/relationships/image" Target="../media/image21.png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7.xml"/><Relationship Id="rId1" Type="http://schemas.openxmlformats.org/officeDocument/2006/relationships/tags" Target="../tags/tag116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9.xml"/><Relationship Id="rId1" Type="http://schemas.openxmlformats.org/officeDocument/2006/relationships/tags" Target="../tags/tag118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120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4" Type="http://schemas.openxmlformats.org/officeDocument/2006/relationships/image" Target="../media/image12.png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4" Type="http://schemas.openxmlformats.org/officeDocument/2006/relationships/image" Target="../media/image12.png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4" Type="http://schemas.openxmlformats.org/officeDocument/2006/relationships/image" Target="../media/image12.png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4" Type="http://schemas.openxmlformats.org/officeDocument/2006/relationships/image" Target="../media/image12.png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4" Type="http://schemas.openxmlformats.org/officeDocument/2006/relationships/image" Target="../media/image12.png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4" Type="http://schemas.openxmlformats.org/officeDocument/2006/relationships/image" Target="../media/image15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4" Type="http://schemas.openxmlformats.org/officeDocument/2006/relationships/image" Target="../media/image16.png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4" Type="http://schemas.openxmlformats.org/officeDocument/2006/relationships/image" Target="../media/image17.png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4" Type="http://schemas.openxmlformats.org/officeDocument/2006/relationships/image" Target="../media/image16.png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4" Type="http://schemas.openxmlformats.org/officeDocument/2006/relationships/image" Target="../media/image15.png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4" Type="http://schemas.openxmlformats.org/officeDocument/2006/relationships/image" Target="../media/image16.png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4" Type="http://schemas.openxmlformats.org/officeDocument/2006/relationships/image" Target="../media/image15.png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4" Type="http://schemas.openxmlformats.org/officeDocument/2006/relationships/image" Target="../media/image16.png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48.xml"/><Relationship Id="rId1" Type="http://schemas.openxmlformats.org/officeDocument/2006/relationships/tags" Target="../tags/tag147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0.xml"/><Relationship Id="rId1" Type="http://schemas.openxmlformats.org/officeDocument/2006/relationships/tags" Target="../tags/tag149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2.xml"/><Relationship Id="rId1" Type="http://schemas.openxmlformats.org/officeDocument/2006/relationships/tags" Target="../tags/tag151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153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154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155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56.xml"/><Relationship Id="rId4" Type="http://schemas.openxmlformats.org/officeDocument/2006/relationships/image" Target="../media/image19.png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157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9.xml"/><Relationship Id="rId1" Type="http://schemas.openxmlformats.org/officeDocument/2006/relationships/tags" Target="../tags/tag158.xml"/><Relationship Id="rId6" Type="http://schemas.openxmlformats.org/officeDocument/2006/relationships/image" Target="../media/image20.png"/><Relationship Id="rId5" Type="http://schemas.openxmlformats.org/officeDocument/2006/relationships/image" Target="../media/image13.jpeg"/><Relationship Id="rId4" Type="http://schemas.openxmlformats.org/officeDocument/2006/relationships/image" Target="../media/image12.png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60.xml"/><Relationship Id="rId4" Type="http://schemas.openxmlformats.org/officeDocument/2006/relationships/image" Target="../media/image4.png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62.xml"/><Relationship Id="rId1" Type="http://schemas.openxmlformats.org/officeDocument/2006/relationships/tags" Target="../tags/tag161.xml"/><Relationship Id="rId5" Type="http://schemas.openxmlformats.org/officeDocument/2006/relationships/image" Target="../media/image21.png"/><Relationship Id="rId4" Type="http://schemas.openxmlformats.org/officeDocument/2006/relationships/image" Target="../media/image4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63.xml"/><Relationship Id="rId4" Type="http://schemas.openxmlformats.org/officeDocument/2006/relationships/image" Target="../media/image21.png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65.xml"/><Relationship Id="rId1" Type="http://schemas.openxmlformats.org/officeDocument/2006/relationships/tags" Target="../tags/tag164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67.xml"/><Relationship Id="rId1" Type="http://schemas.openxmlformats.org/officeDocument/2006/relationships/tags" Target="../tags/tag166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168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70.xml"/><Relationship Id="rId1" Type="http://schemas.openxmlformats.org/officeDocument/2006/relationships/tags" Target="../tags/tag169.xml"/><Relationship Id="rId4" Type="http://schemas.openxmlformats.org/officeDocument/2006/relationships/image" Target="../media/image12.png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72.xml"/><Relationship Id="rId1" Type="http://schemas.openxmlformats.org/officeDocument/2006/relationships/tags" Target="../tags/tag171.xml"/><Relationship Id="rId4" Type="http://schemas.openxmlformats.org/officeDocument/2006/relationships/image" Target="../media/image12.png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4" Type="http://schemas.openxmlformats.org/officeDocument/2006/relationships/image" Target="../media/image12.png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4" Type="http://schemas.openxmlformats.org/officeDocument/2006/relationships/image" Target="../media/image12.png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4" Type="http://schemas.openxmlformats.org/officeDocument/2006/relationships/image" Target="../media/image12.png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4" Type="http://schemas.openxmlformats.org/officeDocument/2006/relationships/image" Target="../media/image12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82.xml"/><Relationship Id="rId1" Type="http://schemas.openxmlformats.org/officeDocument/2006/relationships/tags" Target="../tags/tag181.xml"/><Relationship Id="rId4" Type="http://schemas.openxmlformats.org/officeDocument/2006/relationships/image" Target="../media/image15.png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4" Type="http://schemas.openxmlformats.org/officeDocument/2006/relationships/image" Target="../media/image16.png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4" Type="http://schemas.openxmlformats.org/officeDocument/2006/relationships/image" Target="../media/image17.png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88.xml"/><Relationship Id="rId1" Type="http://schemas.openxmlformats.org/officeDocument/2006/relationships/tags" Target="../tags/tag187.xml"/><Relationship Id="rId4" Type="http://schemas.openxmlformats.org/officeDocument/2006/relationships/image" Target="../media/image16.png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90.xml"/><Relationship Id="rId1" Type="http://schemas.openxmlformats.org/officeDocument/2006/relationships/tags" Target="../tags/tag189.xml"/><Relationship Id="rId4" Type="http://schemas.openxmlformats.org/officeDocument/2006/relationships/image" Target="../media/image15.png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92.xml"/><Relationship Id="rId1" Type="http://schemas.openxmlformats.org/officeDocument/2006/relationships/tags" Target="../tags/tag191.xml"/><Relationship Id="rId4" Type="http://schemas.openxmlformats.org/officeDocument/2006/relationships/image" Target="../media/image16.png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94.xml"/><Relationship Id="rId1" Type="http://schemas.openxmlformats.org/officeDocument/2006/relationships/tags" Target="../tags/tag193.xml"/><Relationship Id="rId4" Type="http://schemas.openxmlformats.org/officeDocument/2006/relationships/image" Target="../media/image15.png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4" Type="http://schemas.openxmlformats.org/officeDocument/2006/relationships/image" Target="../media/image16.png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98.xml"/><Relationship Id="rId1" Type="http://schemas.openxmlformats.org/officeDocument/2006/relationships/tags" Target="../tags/tag197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00.xml"/><Relationship Id="rId1" Type="http://schemas.openxmlformats.org/officeDocument/2006/relationships/tags" Target="../tags/tag199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02.xml"/><Relationship Id="rId1" Type="http://schemas.openxmlformats.org/officeDocument/2006/relationships/tags" Target="../tags/tag201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03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204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205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206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07.xml"/><Relationship Id="rId4" Type="http://schemas.openxmlformats.org/officeDocument/2006/relationships/image" Target="../media/image19.png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208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209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10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211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12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15.xml"/><Relationship Id="rId1" Type="http://schemas.openxmlformats.org/officeDocument/2006/relationships/tags" Target="../tags/tag214.xml"/><Relationship Id="rId6" Type="http://schemas.openxmlformats.org/officeDocument/2006/relationships/image" Target="../media/image14.png"/><Relationship Id="rId5" Type="http://schemas.openxmlformats.org/officeDocument/2006/relationships/image" Target="../media/image13.jpeg"/><Relationship Id="rId4" Type="http://schemas.openxmlformats.org/officeDocument/2006/relationships/image" Target="../media/image12.png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16.xml"/><Relationship Id="rId4" Type="http://schemas.openxmlformats.org/officeDocument/2006/relationships/image" Target="../media/image4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18.xml"/><Relationship Id="rId1" Type="http://schemas.openxmlformats.org/officeDocument/2006/relationships/tags" Target="../tags/tag217.xml"/><Relationship Id="rId5" Type="http://schemas.openxmlformats.org/officeDocument/2006/relationships/image" Target="../media/image11.png"/><Relationship Id="rId4" Type="http://schemas.openxmlformats.org/officeDocument/2006/relationships/image" Target="../media/image4.png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19.xml"/><Relationship Id="rId4" Type="http://schemas.openxmlformats.org/officeDocument/2006/relationships/image" Target="../media/image11.png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21.xml"/><Relationship Id="rId1" Type="http://schemas.openxmlformats.org/officeDocument/2006/relationships/tags" Target="../tags/tag220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23.xml"/><Relationship Id="rId1" Type="http://schemas.openxmlformats.org/officeDocument/2006/relationships/tags" Target="../tags/tag222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24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26.xml"/><Relationship Id="rId1" Type="http://schemas.openxmlformats.org/officeDocument/2006/relationships/tags" Target="../tags/tag225.xml"/><Relationship Id="rId4" Type="http://schemas.openxmlformats.org/officeDocument/2006/relationships/image" Target="../media/image12.png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28.xml"/><Relationship Id="rId1" Type="http://schemas.openxmlformats.org/officeDocument/2006/relationships/tags" Target="../tags/tag227.xml"/><Relationship Id="rId4" Type="http://schemas.openxmlformats.org/officeDocument/2006/relationships/image" Target="../media/image12.png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30.xml"/><Relationship Id="rId1" Type="http://schemas.openxmlformats.org/officeDocument/2006/relationships/tags" Target="../tags/tag229.xml"/><Relationship Id="rId4" Type="http://schemas.openxmlformats.org/officeDocument/2006/relationships/image" Target="../media/image12.png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32.xml"/><Relationship Id="rId1" Type="http://schemas.openxmlformats.org/officeDocument/2006/relationships/tags" Target="../tags/tag231.xml"/><Relationship Id="rId4" Type="http://schemas.openxmlformats.org/officeDocument/2006/relationships/image" Target="../media/image12.png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34.xml"/><Relationship Id="rId1" Type="http://schemas.openxmlformats.org/officeDocument/2006/relationships/tags" Target="../tags/tag233.xml"/><Relationship Id="rId4" Type="http://schemas.openxmlformats.org/officeDocument/2006/relationships/image" Target="../media/image12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36.xml"/><Relationship Id="rId1" Type="http://schemas.openxmlformats.org/officeDocument/2006/relationships/tags" Target="../tags/tag235.xml"/><Relationship Id="rId4" Type="http://schemas.openxmlformats.org/officeDocument/2006/relationships/image" Target="../media/image15.png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38.xml"/><Relationship Id="rId1" Type="http://schemas.openxmlformats.org/officeDocument/2006/relationships/tags" Target="../tags/tag237.xml"/><Relationship Id="rId4" Type="http://schemas.openxmlformats.org/officeDocument/2006/relationships/image" Target="../media/image16.png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40.xml"/><Relationship Id="rId1" Type="http://schemas.openxmlformats.org/officeDocument/2006/relationships/tags" Target="../tags/tag239.xml"/><Relationship Id="rId4" Type="http://schemas.openxmlformats.org/officeDocument/2006/relationships/image" Target="../media/image17.png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42.xml"/><Relationship Id="rId1" Type="http://schemas.openxmlformats.org/officeDocument/2006/relationships/tags" Target="../tags/tag241.xml"/><Relationship Id="rId4" Type="http://schemas.openxmlformats.org/officeDocument/2006/relationships/image" Target="../media/image16.png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44.xml"/><Relationship Id="rId1" Type="http://schemas.openxmlformats.org/officeDocument/2006/relationships/tags" Target="../tags/tag243.xml"/><Relationship Id="rId4" Type="http://schemas.openxmlformats.org/officeDocument/2006/relationships/image" Target="../media/image15.png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46.xml"/><Relationship Id="rId1" Type="http://schemas.openxmlformats.org/officeDocument/2006/relationships/tags" Target="../tags/tag245.xml"/><Relationship Id="rId4" Type="http://schemas.openxmlformats.org/officeDocument/2006/relationships/image" Target="../media/image16.png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48.xml"/><Relationship Id="rId1" Type="http://schemas.openxmlformats.org/officeDocument/2006/relationships/tags" Target="../tags/tag247.xml"/><Relationship Id="rId4" Type="http://schemas.openxmlformats.org/officeDocument/2006/relationships/image" Target="../media/image15.png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50.xml"/><Relationship Id="rId1" Type="http://schemas.openxmlformats.org/officeDocument/2006/relationships/tags" Target="../tags/tag249.xml"/><Relationship Id="rId4" Type="http://schemas.openxmlformats.org/officeDocument/2006/relationships/image" Target="../media/image16.png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52.xml"/><Relationship Id="rId1" Type="http://schemas.openxmlformats.org/officeDocument/2006/relationships/tags" Target="../tags/tag251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54.xml"/><Relationship Id="rId1" Type="http://schemas.openxmlformats.org/officeDocument/2006/relationships/tags" Target="../tags/tag25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56.xml"/><Relationship Id="rId1" Type="http://schemas.openxmlformats.org/officeDocument/2006/relationships/tags" Target="../tags/tag255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57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58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59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60.xml"/><Relationship Id="rId4" Type="http://schemas.openxmlformats.org/officeDocument/2006/relationships/image" Target="../media/image19.png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8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61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63.xml"/><Relationship Id="rId1" Type="http://schemas.openxmlformats.org/officeDocument/2006/relationships/tags" Target="../tags/tag262.xml"/><Relationship Id="rId6" Type="http://schemas.openxmlformats.org/officeDocument/2006/relationships/image" Target="../media/image14.png"/><Relationship Id="rId5" Type="http://schemas.openxmlformats.org/officeDocument/2006/relationships/image" Target="../media/image13.jpeg"/><Relationship Id="rId4" Type="http://schemas.openxmlformats.org/officeDocument/2006/relationships/image" Target="../media/image12.png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64.xml"/><Relationship Id="rId4" Type="http://schemas.openxmlformats.org/officeDocument/2006/relationships/image" Target="../media/image4.png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66.xml"/><Relationship Id="rId1" Type="http://schemas.openxmlformats.org/officeDocument/2006/relationships/tags" Target="../tags/tag265.xml"/><Relationship Id="rId5" Type="http://schemas.openxmlformats.org/officeDocument/2006/relationships/image" Target="../media/image11.png"/><Relationship Id="rId4" Type="http://schemas.openxmlformats.org/officeDocument/2006/relationships/image" Target="../media/image4.png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67.xml"/><Relationship Id="rId4" Type="http://schemas.openxmlformats.org/officeDocument/2006/relationships/image" Target="../media/image11.png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69.xml"/><Relationship Id="rId1" Type="http://schemas.openxmlformats.org/officeDocument/2006/relationships/tags" Target="../tags/tag268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71.xml"/><Relationship Id="rId1" Type="http://schemas.openxmlformats.org/officeDocument/2006/relationships/tags" Target="../tags/tag270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72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74.xml"/><Relationship Id="rId1" Type="http://schemas.openxmlformats.org/officeDocument/2006/relationships/tags" Target="../tags/tag273.xml"/><Relationship Id="rId4" Type="http://schemas.openxmlformats.org/officeDocument/2006/relationships/image" Target="../media/image12.png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76.xml"/><Relationship Id="rId1" Type="http://schemas.openxmlformats.org/officeDocument/2006/relationships/tags" Target="../tags/tag275.xml"/><Relationship Id="rId4" Type="http://schemas.openxmlformats.org/officeDocument/2006/relationships/image" Target="../media/image12.png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78.xml"/><Relationship Id="rId1" Type="http://schemas.openxmlformats.org/officeDocument/2006/relationships/tags" Target="../tags/tag277.xml"/><Relationship Id="rId4" Type="http://schemas.openxmlformats.org/officeDocument/2006/relationships/image" Target="../media/image12.png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80.xml"/><Relationship Id="rId1" Type="http://schemas.openxmlformats.org/officeDocument/2006/relationships/tags" Target="../tags/tag279.xml"/><Relationship Id="rId4" Type="http://schemas.openxmlformats.org/officeDocument/2006/relationships/image" Target="../media/image12.png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82.xml"/><Relationship Id="rId1" Type="http://schemas.openxmlformats.org/officeDocument/2006/relationships/tags" Target="../tags/tag281.xml"/><Relationship Id="rId4" Type="http://schemas.openxmlformats.org/officeDocument/2006/relationships/image" Target="../media/image12.pn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84.xml"/><Relationship Id="rId1" Type="http://schemas.openxmlformats.org/officeDocument/2006/relationships/tags" Target="../tags/tag283.xml"/><Relationship Id="rId4" Type="http://schemas.openxmlformats.org/officeDocument/2006/relationships/image" Target="../media/image12.png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86.xml"/><Relationship Id="rId1" Type="http://schemas.openxmlformats.org/officeDocument/2006/relationships/tags" Target="../tags/tag285.xml"/><Relationship Id="rId4" Type="http://schemas.openxmlformats.org/officeDocument/2006/relationships/image" Target="../media/image15.png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88.xml"/><Relationship Id="rId1" Type="http://schemas.openxmlformats.org/officeDocument/2006/relationships/tags" Target="../tags/tag287.xml"/><Relationship Id="rId4" Type="http://schemas.openxmlformats.org/officeDocument/2006/relationships/image" Target="../media/image16.png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90.xml"/><Relationship Id="rId1" Type="http://schemas.openxmlformats.org/officeDocument/2006/relationships/tags" Target="../tags/tag289.xml"/><Relationship Id="rId4" Type="http://schemas.openxmlformats.org/officeDocument/2006/relationships/image" Target="../media/image17.png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92.xml"/><Relationship Id="rId1" Type="http://schemas.openxmlformats.org/officeDocument/2006/relationships/tags" Target="../tags/tag291.xml"/><Relationship Id="rId4" Type="http://schemas.openxmlformats.org/officeDocument/2006/relationships/image" Target="../media/image16.png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94.xml"/><Relationship Id="rId1" Type="http://schemas.openxmlformats.org/officeDocument/2006/relationships/tags" Target="../tags/tag293.xml"/><Relationship Id="rId4" Type="http://schemas.openxmlformats.org/officeDocument/2006/relationships/image" Target="../media/image15.png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96.xml"/><Relationship Id="rId1" Type="http://schemas.openxmlformats.org/officeDocument/2006/relationships/tags" Target="../tags/tag295.xml"/><Relationship Id="rId4" Type="http://schemas.openxmlformats.org/officeDocument/2006/relationships/image" Target="../media/image16.png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98.xml"/><Relationship Id="rId1" Type="http://schemas.openxmlformats.org/officeDocument/2006/relationships/tags" Target="../tags/tag297.xml"/><Relationship Id="rId4" Type="http://schemas.openxmlformats.org/officeDocument/2006/relationships/image" Target="../media/image15.png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00.xml"/><Relationship Id="rId1" Type="http://schemas.openxmlformats.org/officeDocument/2006/relationships/tags" Target="../tags/tag299.xml"/><Relationship Id="rId4" Type="http://schemas.openxmlformats.org/officeDocument/2006/relationships/image" Target="../media/image16.png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02.xml"/><Relationship Id="rId1" Type="http://schemas.openxmlformats.org/officeDocument/2006/relationships/tags" Target="../tags/tag30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04.xml"/><Relationship Id="rId1" Type="http://schemas.openxmlformats.org/officeDocument/2006/relationships/tags" Target="../tags/tag303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06.xml"/><Relationship Id="rId1" Type="http://schemas.openxmlformats.org/officeDocument/2006/relationships/tags" Target="../tags/tag305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07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308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309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310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11.xml"/><Relationship Id="rId4" Type="http://schemas.openxmlformats.org/officeDocument/2006/relationships/image" Target="../media/image19.png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8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31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313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14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315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16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19.xml"/><Relationship Id="rId1" Type="http://schemas.openxmlformats.org/officeDocument/2006/relationships/tags" Target="../tags/tag318.xml"/><Relationship Id="rId6" Type="http://schemas.openxmlformats.org/officeDocument/2006/relationships/image" Target="../media/image20.png"/><Relationship Id="rId5" Type="http://schemas.openxmlformats.org/officeDocument/2006/relationships/image" Target="../media/image13.jpeg"/><Relationship Id="rId4" Type="http://schemas.openxmlformats.org/officeDocument/2006/relationships/image" Target="../media/image12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320.xml"/><Relationship Id="rId4" Type="http://schemas.openxmlformats.org/officeDocument/2006/relationships/image" Target="../media/image4.png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22.xml"/><Relationship Id="rId1" Type="http://schemas.openxmlformats.org/officeDocument/2006/relationships/tags" Target="../tags/tag321.xml"/><Relationship Id="rId5" Type="http://schemas.openxmlformats.org/officeDocument/2006/relationships/image" Target="../media/image21.png"/><Relationship Id="rId4" Type="http://schemas.openxmlformats.org/officeDocument/2006/relationships/image" Target="../media/image4.png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323.xml"/><Relationship Id="rId4" Type="http://schemas.openxmlformats.org/officeDocument/2006/relationships/image" Target="../media/image21.png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25.xml"/><Relationship Id="rId1" Type="http://schemas.openxmlformats.org/officeDocument/2006/relationships/tags" Target="../tags/tag324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27.xml"/><Relationship Id="rId1" Type="http://schemas.openxmlformats.org/officeDocument/2006/relationships/tags" Target="../tags/tag326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328.xml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30.xml"/><Relationship Id="rId1" Type="http://schemas.openxmlformats.org/officeDocument/2006/relationships/tags" Target="../tags/tag329.xml"/><Relationship Id="rId4" Type="http://schemas.openxmlformats.org/officeDocument/2006/relationships/image" Target="../media/image12.png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32.xml"/><Relationship Id="rId1" Type="http://schemas.openxmlformats.org/officeDocument/2006/relationships/tags" Target="../tags/tag331.xml"/><Relationship Id="rId4" Type="http://schemas.openxmlformats.org/officeDocument/2006/relationships/image" Target="../media/image12.png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34.xml"/><Relationship Id="rId1" Type="http://schemas.openxmlformats.org/officeDocument/2006/relationships/tags" Target="../tags/tag333.xml"/><Relationship Id="rId4" Type="http://schemas.openxmlformats.org/officeDocument/2006/relationships/image" Target="../media/image12.png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36.xml"/><Relationship Id="rId1" Type="http://schemas.openxmlformats.org/officeDocument/2006/relationships/tags" Target="../tags/tag335.xml"/><Relationship Id="rId4" Type="http://schemas.openxmlformats.org/officeDocument/2006/relationships/image" Target="../media/image12.pn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38.xml"/><Relationship Id="rId1" Type="http://schemas.openxmlformats.org/officeDocument/2006/relationships/tags" Target="../tags/tag337.xml"/><Relationship Id="rId4" Type="http://schemas.openxmlformats.org/officeDocument/2006/relationships/image" Target="../media/image12.png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40.xml"/><Relationship Id="rId1" Type="http://schemas.openxmlformats.org/officeDocument/2006/relationships/tags" Target="../tags/tag339.xml"/><Relationship Id="rId4" Type="http://schemas.openxmlformats.org/officeDocument/2006/relationships/image" Target="../media/image15.png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42.xml"/><Relationship Id="rId1" Type="http://schemas.openxmlformats.org/officeDocument/2006/relationships/tags" Target="../tags/tag341.xml"/><Relationship Id="rId4" Type="http://schemas.openxmlformats.org/officeDocument/2006/relationships/image" Target="../media/image16.png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44.xml"/><Relationship Id="rId1" Type="http://schemas.openxmlformats.org/officeDocument/2006/relationships/tags" Target="../tags/tag343.xml"/><Relationship Id="rId4" Type="http://schemas.openxmlformats.org/officeDocument/2006/relationships/image" Target="../media/image17.png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46.xml"/><Relationship Id="rId1" Type="http://schemas.openxmlformats.org/officeDocument/2006/relationships/tags" Target="../tags/tag345.xml"/><Relationship Id="rId4" Type="http://schemas.openxmlformats.org/officeDocument/2006/relationships/image" Target="../media/image16.png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48.xml"/><Relationship Id="rId1" Type="http://schemas.openxmlformats.org/officeDocument/2006/relationships/tags" Target="../tags/tag347.xml"/><Relationship Id="rId4" Type="http://schemas.openxmlformats.org/officeDocument/2006/relationships/image" Target="../media/image15.png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50.xml"/><Relationship Id="rId1" Type="http://schemas.openxmlformats.org/officeDocument/2006/relationships/tags" Target="../tags/tag349.xml"/><Relationship Id="rId4" Type="http://schemas.openxmlformats.org/officeDocument/2006/relationships/image" Target="../media/image16.png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52.xml"/><Relationship Id="rId1" Type="http://schemas.openxmlformats.org/officeDocument/2006/relationships/tags" Target="../tags/tag351.xml"/><Relationship Id="rId4" Type="http://schemas.openxmlformats.org/officeDocument/2006/relationships/image" Target="../media/image15.png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54.xml"/><Relationship Id="rId1" Type="http://schemas.openxmlformats.org/officeDocument/2006/relationships/tags" Target="../tags/tag353.xml"/><Relationship Id="rId4" Type="http://schemas.openxmlformats.org/officeDocument/2006/relationships/image" Target="../media/image16.png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56.xml"/><Relationship Id="rId1" Type="http://schemas.openxmlformats.org/officeDocument/2006/relationships/tags" Target="../tags/tag35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58.xml"/><Relationship Id="rId1" Type="http://schemas.openxmlformats.org/officeDocument/2006/relationships/tags" Target="../tags/tag357.xml"/></Relationships>
</file>

<file path=ppt/slideLayouts/_rels/slideLayout2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9.x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60.xml"/><Relationship Id="rId1" Type="http://schemas.openxmlformats.org/officeDocument/2006/relationships/tags" Target="../tags/tag359.xml"/></Relationships>
</file>

<file path=ppt/slideLayouts/_rels/slideLayout28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361.xml"/></Relationships>
</file>

<file path=ppt/slideLayouts/_rels/slideLayout28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362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363.xml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364.xml"/><Relationship Id="rId4" Type="http://schemas.openxmlformats.org/officeDocument/2006/relationships/image" Target="../media/image19.png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9.xml"/></Relationships>
</file>

<file path=ppt/slideLayouts/_rels/slideLayout28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365.xml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67.xml"/><Relationship Id="rId1" Type="http://schemas.openxmlformats.org/officeDocument/2006/relationships/tags" Target="../tags/tag366.xml"/><Relationship Id="rId6" Type="http://schemas.openxmlformats.org/officeDocument/2006/relationships/image" Target="../media/image20.png"/><Relationship Id="rId5" Type="http://schemas.openxmlformats.org/officeDocument/2006/relationships/image" Target="../media/image13.jpeg"/><Relationship Id="rId4" Type="http://schemas.openxmlformats.org/officeDocument/2006/relationships/image" Target="../media/image12.pn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368.xml"/><Relationship Id="rId4" Type="http://schemas.openxmlformats.org/officeDocument/2006/relationships/image" Target="../media/image4.png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70.xml"/><Relationship Id="rId1" Type="http://schemas.openxmlformats.org/officeDocument/2006/relationships/tags" Target="../tags/tag369.xml"/><Relationship Id="rId5" Type="http://schemas.openxmlformats.org/officeDocument/2006/relationships/image" Target="../media/image21.png"/><Relationship Id="rId4" Type="http://schemas.openxmlformats.org/officeDocument/2006/relationships/image" Target="../media/image4.png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371.xml"/><Relationship Id="rId4" Type="http://schemas.openxmlformats.org/officeDocument/2006/relationships/image" Target="../media/image21.png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73.xml"/><Relationship Id="rId1" Type="http://schemas.openxmlformats.org/officeDocument/2006/relationships/tags" Target="../tags/tag372.xml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75.xml"/><Relationship Id="rId1" Type="http://schemas.openxmlformats.org/officeDocument/2006/relationships/tags" Target="../tags/tag374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376.xml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78.xml"/><Relationship Id="rId1" Type="http://schemas.openxmlformats.org/officeDocument/2006/relationships/tags" Target="../tags/tag377.xml"/><Relationship Id="rId4" Type="http://schemas.openxmlformats.org/officeDocument/2006/relationships/image" Target="../media/image12.png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80.xml"/><Relationship Id="rId1" Type="http://schemas.openxmlformats.org/officeDocument/2006/relationships/tags" Target="../tags/tag379.xml"/><Relationship Id="rId4" Type="http://schemas.openxmlformats.org/officeDocument/2006/relationships/image" Target="../media/image12.png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82.xml"/><Relationship Id="rId1" Type="http://schemas.openxmlformats.org/officeDocument/2006/relationships/tags" Target="../tags/tag381.xml"/><Relationship Id="rId4" Type="http://schemas.openxmlformats.org/officeDocument/2006/relationships/image" Target="../media/image12.png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84.xml"/><Relationship Id="rId1" Type="http://schemas.openxmlformats.org/officeDocument/2006/relationships/tags" Target="../tags/tag383.xml"/><Relationship Id="rId4" Type="http://schemas.openxmlformats.org/officeDocument/2006/relationships/image" Target="../media/image12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86.xml"/><Relationship Id="rId1" Type="http://schemas.openxmlformats.org/officeDocument/2006/relationships/tags" Target="../tags/tag385.xml"/><Relationship Id="rId4" Type="http://schemas.openxmlformats.org/officeDocument/2006/relationships/image" Target="../media/image12.png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88.xml"/><Relationship Id="rId1" Type="http://schemas.openxmlformats.org/officeDocument/2006/relationships/tags" Target="../tags/tag387.xml"/><Relationship Id="rId4" Type="http://schemas.openxmlformats.org/officeDocument/2006/relationships/image" Target="../media/image12.png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90.xml"/><Relationship Id="rId1" Type="http://schemas.openxmlformats.org/officeDocument/2006/relationships/tags" Target="../tags/tag389.xml"/><Relationship Id="rId4" Type="http://schemas.openxmlformats.org/officeDocument/2006/relationships/image" Target="../media/image15.png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92.xml"/><Relationship Id="rId1" Type="http://schemas.openxmlformats.org/officeDocument/2006/relationships/tags" Target="../tags/tag391.xml"/><Relationship Id="rId4" Type="http://schemas.openxmlformats.org/officeDocument/2006/relationships/image" Target="../media/image16.png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94.xml"/><Relationship Id="rId1" Type="http://schemas.openxmlformats.org/officeDocument/2006/relationships/tags" Target="../tags/tag393.xml"/><Relationship Id="rId4" Type="http://schemas.openxmlformats.org/officeDocument/2006/relationships/image" Target="../media/image17.png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96.xml"/><Relationship Id="rId1" Type="http://schemas.openxmlformats.org/officeDocument/2006/relationships/tags" Target="../tags/tag395.xml"/><Relationship Id="rId4" Type="http://schemas.openxmlformats.org/officeDocument/2006/relationships/image" Target="../media/image16.png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98.xml"/><Relationship Id="rId1" Type="http://schemas.openxmlformats.org/officeDocument/2006/relationships/tags" Target="../tags/tag397.xml"/><Relationship Id="rId4" Type="http://schemas.openxmlformats.org/officeDocument/2006/relationships/image" Target="../media/image15.png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00.xml"/><Relationship Id="rId1" Type="http://schemas.openxmlformats.org/officeDocument/2006/relationships/tags" Target="../tags/tag399.xml"/><Relationship Id="rId4" Type="http://schemas.openxmlformats.org/officeDocument/2006/relationships/image" Target="../media/image16.png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02.xml"/><Relationship Id="rId1" Type="http://schemas.openxmlformats.org/officeDocument/2006/relationships/tags" Target="../tags/tag401.xml"/><Relationship Id="rId4" Type="http://schemas.openxmlformats.org/officeDocument/2006/relationships/image" Target="../media/image15.png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04.xml"/><Relationship Id="rId1" Type="http://schemas.openxmlformats.org/officeDocument/2006/relationships/tags" Target="../tags/tag403.xml"/><Relationship Id="rId4" Type="http://schemas.openxmlformats.org/officeDocument/2006/relationships/image" Target="../media/image16.pn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06.xml"/><Relationship Id="rId1" Type="http://schemas.openxmlformats.org/officeDocument/2006/relationships/tags" Target="../tags/tag405.xml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08.xml"/><Relationship Id="rId1" Type="http://schemas.openxmlformats.org/officeDocument/2006/relationships/tags" Target="../tags/tag407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9.xml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10.xml"/><Relationship Id="rId1" Type="http://schemas.openxmlformats.org/officeDocument/2006/relationships/tags" Target="../tags/tag409.xml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411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412.xml"/></Relationships>
</file>

<file path=ppt/slideLayouts/_rels/slideLayout3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413.xml"/></Relationships>
</file>

<file path=ppt/slideLayouts/_rels/slideLayout3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414.xml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415.xml"/><Relationship Id="rId4" Type="http://schemas.openxmlformats.org/officeDocument/2006/relationships/image" Target="../media/image19.png"/></Relationships>
</file>

<file path=ppt/slideLayouts/_rels/slideLayout3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416.xml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417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418.xml"/></Relationships>
</file>

<file path=ppt/slideLayouts/_rels/slideLayout3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419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420.xml"/></Relationships>
</file>

<file path=ppt/slideLayouts/_rels/slideLayout3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4.png"/></Relationships>
</file>

<file path=ppt/slideLayouts/_rels/slideLayout3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0.xml"/></Relationships>
</file>

<file path=ppt/slideLayouts/_rels/slideLayout3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0.xml"/></Relationships>
</file>

<file path=ppt/slideLayouts/_rels/slideLayout3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tags" Target="../tags/tag425.xml"/><Relationship Id="rId7" Type="http://schemas.openxmlformats.org/officeDocument/2006/relationships/image" Target="../media/image12.png"/><Relationship Id="rId2" Type="http://schemas.openxmlformats.org/officeDocument/2006/relationships/tags" Target="../tags/tag424.xml"/><Relationship Id="rId1" Type="http://schemas.openxmlformats.org/officeDocument/2006/relationships/tags" Target="../tags/tag423.xml"/><Relationship Id="rId6" Type="http://schemas.openxmlformats.org/officeDocument/2006/relationships/image" Target="../media/image27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1.xml"/><Relationship Id="rId9" Type="http://schemas.openxmlformats.org/officeDocument/2006/relationships/image" Target="../media/image14.png"/></Relationships>
</file>

<file path=ppt/slideLayouts/_rels/slideLayout3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4.png"/><Relationship Id="rId2" Type="http://schemas.openxmlformats.org/officeDocument/2006/relationships/tags" Target="../tags/tag427.xml"/><Relationship Id="rId1" Type="http://schemas.openxmlformats.org/officeDocument/2006/relationships/tags" Target="../tags/tag426.xml"/><Relationship Id="rId6" Type="http://schemas.openxmlformats.org/officeDocument/2006/relationships/image" Target="../media/image2.png"/><Relationship Id="rId5" Type="http://schemas.openxmlformats.org/officeDocument/2006/relationships/image" Target="../media/image27.emf"/><Relationship Id="rId4" Type="http://schemas.openxmlformats.org/officeDocument/2006/relationships/oleObject" Target="../embeddings/oleObject3.bin"/></Relationships>
</file>

<file path=ppt/slideLayouts/_rels/slideLayout3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430.xml"/><Relationship Id="rId7" Type="http://schemas.openxmlformats.org/officeDocument/2006/relationships/image" Target="../media/image4.png"/><Relationship Id="rId2" Type="http://schemas.openxmlformats.org/officeDocument/2006/relationships/tags" Target="../tags/tag429.xml"/><Relationship Id="rId1" Type="http://schemas.openxmlformats.org/officeDocument/2006/relationships/tags" Target="../tags/tag428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1.xml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11.png"/><Relationship Id="rId2" Type="http://schemas.openxmlformats.org/officeDocument/2006/relationships/tags" Target="../tags/tag432.xml"/><Relationship Id="rId1" Type="http://schemas.openxmlformats.org/officeDocument/2006/relationships/tags" Target="../tags/tag431.xml"/><Relationship Id="rId6" Type="http://schemas.openxmlformats.org/officeDocument/2006/relationships/image" Target="../media/image4.png"/><Relationship Id="rId5" Type="http://schemas.openxmlformats.org/officeDocument/2006/relationships/image" Target="../media/image28.emf"/><Relationship Id="rId4" Type="http://schemas.openxmlformats.org/officeDocument/2006/relationships/oleObject" Target="../embeddings/oleObject5.bin"/></Relationships>
</file>

<file path=ppt/slideLayouts/_rels/slideLayout347.xml.rels><?xml version="1.0" encoding="UTF-8" standalone="yes"?>
<Relationships xmlns="http://schemas.openxmlformats.org/package/2006/relationships"><Relationship Id="rId3" Type="http://schemas.openxmlformats.org/officeDocument/2006/relationships/tags" Target="../tags/tag435.xml"/><Relationship Id="rId2" Type="http://schemas.openxmlformats.org/officeDocument/2006/relationships/tags" Target="../tags/tag434.xml"/><Relationship Id="rId1" Type="http://schemas.openxmlformats.org/officeDocument/2006/relationships/tags" Target="../tags/tag433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1.xml"/></Relationships>
</file>

<file path=ppt/slideLayouts/_rels/slideLayout348.xml.rels><?xml version="1.0" encoding="UTF-8" standalone="yes"?>
<Relationships xmlns="http://schemas.openxmlformats.org/package/2006/relationships"><Relationship Id="rId3" Type="http://schemas.openxmlformats.org/officeDocument/2006/relationships/tags" Target="../tags/tag438.xml"/><Relationship Id="rId2" Type="http://schemas.openxmlformats.org/officeDocument/2006/relationships/tags" Target="../tags/tag437.xml"/><Relationship Id="rId1" Type="http://schemas.openxmlformats.org/officeDocument/2006/relationships/tags" Target="../tags/tag436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1.xml"/></Relationships>
</file>

<file path=ppt/slideLayouts/_rels/slideLayout3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40.xml"/><Relationship Id="rId1" Type="http://schemas.openxmlformats.org/officeDocument/2006/relationships/tags" Target="../tags/tag43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8.bin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0.xml.rels><?xml version="1.0" encoding="UTF-8" standalone="yes"?>
<Relationships xmlns="http://schemas.openxmlformats.org/package/2006/relationships"><Relationship Id="rId3" Type="http://schemas.openxmlformats.org/officeDocument/2006/relationships/tags" Target="../tags/tag443.xml"/><Relationship Id="rId7" Type="http://schemas.openxmlformats.org/officeDocument/2006/relationships/image" Target="../media/image12.png"/><Relationship Id="rId2" Type="http://schemas.openxmlformats.org/officeDocument/2006/relationships/tags" Target="../tags/tag442.xml"/><Relationship Id="rId1" Type="http://schemas.openxmlformats.org/officeDocument/2006/relationships/tags" Target="../tags/tag441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1.xml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tags" Target="../tags/tag446.xml"/><Relationship Id="rId7" Type="http://schemas.openxmlformats.org/officeDocument/2006/relationships/image" Target="../media/image12.png"/><Relationship Id="rId2" Type="http://schemas.openxmlformats.org/officeDocument/2006/relationships/tags" Target="../tags/tag445.xml"/><Relationship Id="rId1" Type="http://schemas.openxmlformats.org/officeDocument/2006/relationships/tags" Target="../tags/tag444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1.xml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tags" Target="../tags/tag449.xml"/><Relationship Id="rId7" Type="http://schemas.openxmlformats.org/officeDocument/2006/relationships/image" Target="../media/image12.png"/><Relationship Id="rId2" Type="http://schemas.openxmlformats.org/officeDocument/2006/relationships/tags" Target="../tags/tag448.xml"/><Relationship Id="rId1" Type="http://schemas.openxmlformats.org/officeDocument/2006/relationships/tags" Target="../tags/tag447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1.xml"/></Relationships>
</file>

<file path=ppt/slideLayouts/_rels/slideLayout353.xml.rels><?xml version="1.0" encoding="UTF-8" standalone="yes"?>
<Relationships xmlns="http://schemas.openxmlformats.org/package/2006/relationships"><Relationship Id="rId3" Type="http://schemas.openxmlformats.org/officeDocument/2006/relationships/tags" Target="../tags/tag452.xml"/><Relationship Id="rId7" Type="http://schemas.openxmlformats.org/officeDocument/2006/relationships/image" Target="../media/image12.png"/><Relationship Id="rId2" Type="http://schemas.openxmlformats.org/officeDocument/2006/relationships/tags" Target="../tags/tag451.xml"/><Relationship Id="rId1" Type="http://schemas.openxmlformats.org/officeDocument/2006/relationships/tags" Target="../tags/tag450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1.xml"/></Relationships>
</file>

<file path=ppt/slideLayouts/_rels/slideLayout354.xml.rels><?xml version="1.0" encoding="UTF-8" standalone="yes"?>
<Relationships xmlns="http://schemas.openxmlformats.org/package/2006/relationships"><Relationship Id="rId3" Type="http://schemas.openxmlformats.org/officeDocument/2006/relationships/tags" Target="../tags/tag455.xml"/><Relationship Id="rId7" Type="http://schemas.openxmlformats.org/officeDocument/2006/relationships/image" Target="../media/image12.png"/><Relationship Id="rId2" Type="http://schemas.openxmlformats.org/officeDocument/2006/relationships/tags" Target="../tags/tag454.xml"/><Relationship Id="rId1" Type="http://schemas.openxmlformats.org/officeDocument/2006/relationships/tags" Target="../tags/tag453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1.xml"/></Relationships>
</file>

<file path=ppt/slideLayouts/_rels/slideLayout355.xml.rels><?xml version="1.0" encoding="UTF-8" standalone="yes"?>
<Relationships xmlns="http://schemas.openxmlformats.org/package/2006/relationships"><Relationship Id="rId3" Type="http://schemas.openxmlformats.org/officeDocument/2006/relationships/tags" Target="../tags/tag458.xml"/><Relationship Id="rId7" Type="http://schemas.openxmlformats.org/officeDocument/2006/relationships/image" Target="../media/image15.png"/><Relationship Id="rId2" Type="http://schemas.openxmlformats.org/officeDocument/2006/relationships/tags" Target="../tags/tag457.xml"/><Relationship Id="rId1" Type="http://schemas.openxmlformats.org/officeDocument/2006/relationships/tags" Target="../tags/tag456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1.xml"/></Relationships>
</file>

<file path=ppt/slideLayouts/_rels/slideLayout356.xml.rels><?xml version="1.0" encoding="UTF-8" standalone="yes"?>
<Relationships xmlns="http://schemas.openxmlformats.org/package/2006/relationships"><Relationship Id="rId3" Type="http://schemas.openxmlformats.org/officeDocument/2006/relationships/tags" Target="../tags/tag461.xml"/><Relationship Id="rId7" Type="http://schemas.openxmlformats.org/officeDocument/2006/relationships/image" Target="../media/image16.png"/><Relationship Id="rId2" Type="http://schemas.openxmlformats.org/officeDocument/2006/relationships/tags" Target="../tags/tag460.xml"/><Relationship Id="rId1" Type="http://schemas.openxmlformats.org/officeDocument/2006/relationships/tags" Target="../tags/tag459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1.xml"/></Relationships>
</file>

<file path=ppt/slideLayouts/_rels/slideLayout357.xml.rels><?xml version="1.0" encoding="UTF-8" standalone="yes"?>
<Relationships xmlns="http://schemas.openxmlformats.org/package/2006/relationships"><Relationship Id="rId3" Type="http://schemas.openxmlformats.org/officeDocument/2006/relationships/tags" Target="../tags/tag464.xml"/><Relationship Id="rId7" Type="http://schemas.openxmlformats.org/officeDocument/2006/relationships/image" Target="../media/image17.png"/><Relationship Id="rId2" Type="http://schemas.openxmlformats.org/officeDocument/2006/relationships/tags" Target="../tags/tag463.xml"/><Relationship Id="rId1" Type="http://schemas.openxmlformats.org/officeDocument/2006/relationships/tags" Target="../tags/tag462.x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1.xml"/></Relationships>
</file>

<file path=ppt/slideLayouts/_rels/slideLayout358.xml.rels><?xml version="1.0" encoding="UTF-8" standalone="yes"?>
<Relationships xmlns="http://schemas.openxmlformats.org/package/2006/relationships"><Relationship Id="rId3" Type="http://schemas.openxmlformats.org/officeDocument/2006/relationships/tags" Target="../tags/tag467.xml"/><Relationship Id="rId7" Type="http://schemas.openxmlformats.org/officeDocument/2006/relationships/image" Target="../media/image16.png"/><Relationship Id="rId2" Type="http://schemas.openxmlformats.org/officeDocument/2006/relationships/tags" Target="../tags/tag466.xml"/><Relationship Id="rId1" Type="http://schemas.openxmlformats.org/officeDocument/2006/relationships/tags" Target="../tags/tag465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1.xml"/></Relationships>
</file>

<file path=ppt/slideLayouts/_rels/slideLayout359.xml.rels><?xml version="1.0" encoding="UTF-8" standalone="yes"?>
<Relationships xmlns="http://schemas.openxmlformats.org/package/2006/relationships"><Relationship Id="rId3" Type="http://schemas.openxmlformats.org/officeDocument/2006/relationships/tags" Target="../tags/tag470.xml"/><Relationship Id="rId7" Type="http://schemas.openxmlformats.org/officeDocument/2006/relationships/image" Target="../media/image15.png"/><Relationship Id="rId2" Type="http://schemas.openxmlformats.org/officeDocument/2006/relationships/tags" Target="../tags/tag469.xml"/><Relationship Id="rId1" Type="http://schemas.openxmlformats.org/officeDocument/2006/relationships/tags" Target="../tags/tag468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0.xml.rels><?xml version="1.0" encoding="UTF-8" standalone="yes"?>
<Relationships xmlns="http://schemas.openxmlformats.org/package/2006/relationships"><Relationship Id="rId3" Type="http://schemas.openxmlformats.org/officeDocument/2006/relationships/tags" Target="../tags/tag473.xml"/><Relationship Id="rId7" Type="http://schemas.openxmlformats.org/officeDocument/2006/relationships/image" Target="../media/image16.png"/><Relationship Id="rId2" Type="http://schemas.openxmlformats.org/officeDocument/2006/relationships/tags" Target="../tags/tag472.xml"/><Relationship Id="rId1" Type="http://schemas.openxmlformats.org/officeDocument/2006/relationships/tags" Target="../tags/tag471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1.xml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tags" Target="../tags/tag476.xml"/><Relationship Id="rId7" Type="http://schemas.openxmlformats.org/officeDocument/2006/relationships/image" Target="../media/image15.png"/><Relationship Id="rId2" Type="http://schemas.openxmlformats.org/officeDocument/2006/relationships/tags" Target="../tags/tag475.xml"/><Relationship Id="rId1" Type="http://schemas.openxmlformats.org/officeDocument/2006/relationships/tags" Target="../tags/tag474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1.xml"/></Relationships>
</file>

<file path=ppt/slideLayouts/_rels/slideLayout362.xml.rels><?xml version="1.0" encoding="UTF-8" standalone="yes"?>
<Relationships xmlns="http://schemas.openxmlformats.org/package/2006/relationships"><Relationship Id="rId3" Type="http://schemas.openxmlformats.org/officeDocument/2006/relationships/tags" Target="../tags/tag479.xml"/><Relationship Id="rId7" Type="http://schemas.openxmlformats.org/officeDocument/2006/relationships/image" Target="../media/image16.png"/><Relationship Id="rId2" Type="http://schemas.openxmlformats.org/officeDocument/2006/relationships/tags" Target="../tags/tag478.xml"/><Relationship Id="rId1" Type="http://schemas.openxmlformats.org/officeDocument/2006/relationships/tags" Target="../tags/tag477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1.xml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tags" Target="../tags/tag482.xml"/><Relationship Id="rId2" Type="http://schemas.openxmlformats.org/officeDocument/2006/relationships/tags" Target="../tags/tag481.xml"/><Relationship Id="rId1" Type="http://schemas.openxmlformats.org/officeDocument/2006/relationships/tags" Target="../tags/tag480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1.xml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tags" Target="../tags/tag485.xml"/><Relationship Id="rId2" Type="http://schemas.openxmlformats.org/officeDocument/2006/relationships/tags" Target="../tags/tag484.xml"/><Relationship Id="rId1" Type="http://schemas.openxmlformats.org/officeDocument/2006/relationships/tags" Target="../tags/tag483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1.xml"/></Relationships>
</file>

<file path=ppt/slideLayouts/_rels/slideLayout3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486.xml"/><Relationship Id="rId5" Type="http://schemas.openxmlformats.org/officeDocument/2006/relationships/image" Target="../media/image18.png"/><Relationship Id="rId4" Type="http://schemas.openxmlformats.org/officeDocument/2006/relationships/image" Target="../media/image29.emf"/></Relationships>
</file>

<file path=ppt/slideLayouts/_rels/slideLayout366.xml.rels><?xml version="1.0" encoding="UTF-8" standalone="yes"?>
<Relationships xmlns="http://schemas.openxmlformats.org/package/2006/relationships"><Relationship Id="rId3" Type="http://schemas.openxmlformats.org/officeDocument/2006/relationships/tags" Target="../tags/tag489.xml"/><Relationship Id="rId2" Type="http://schemas.openxmlformats.org/officeDocument/2006/relationships/tags" Target="../tags/tag488.xml"/><Relationship Id="rId1" Type="http://schemas.openxmlformats.org/officeDocument/2006/relationships/tags" Target="../tags/tag487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11.xml"/></Relationships>
</file>

<file path=ppt/slideLayouts/_rels/slideLayout3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91.xml"/><Relationship Id="rId1" Type="http://schemas.openxmlformats.org/officeDocument/2006/relationships/tags" Target="../tags/tag49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6.bin"/></Relationships>
</file>

<file path=ppt/slideLayouts/_rels/slideLayout3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93.xml"/><Relationship Id="rId1" Type="http://schemas.openxmlformats.org/officeDocument/2006/relationships/tags" Target="../tags/tag49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Layouts/_rels/slideLayout3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95.xml"/><Relationship Id="rId1" Type="http://schemas.openxmlformats.org/officeDocument/2006/relationships/tags" Target="../tags/tag49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8.bin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19.png"/><Relationship Id="rId2" Type="http://schemas.openxmlformats.org/officeDocument/2006/relationships/tags" Target="../tags/tag497.xml"/><Relationship Id="rId1" Type="http://schemas.openxmlformats.org/officeDocument/2006/relationships/tags" Target="../tags/tag496.xml"/><Relationship Id="rId6" Type="http://schemas.openxmlformats.org/officeDocument/2006/relationships/image" Target="../media/image13.jpeg"/><Relationship Id="rId5" Type="http://schemas.openxmlformats.org/officeDocument/2006/relationships/image" Target="../media/image27.emf"/><Relationship Id="rId4" Type="http://schemas.openxmlformats.org/officeDocument/2006/relationships/oleObject" Target="../embeddings/oleObject29.bin"/></Relationships>
</file>

<file path=ppt/slideLayouts/_rels/slideLayout3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498.xml"/><Relationship Id="rId5" Type="http://schemas.openxmlformats.org/officeDocument/2006/relationships/image" Target="../media/image19.png"/><Relationship Id="rId4" Type="http://schemas.openxmlformats.org/officeDocument/2006/relationships/image" Target="../media/image27.emf"/></Relationships>
</file>

<file path=ppt/slideLayouts/_rels/slideLayout3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00.xml"/><Relationship Id="rId1" Type="http://schemas.openxmlformats.org/officeDocument/2006/relationships/tags" Target="../tags/tag49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31.bin"/></Relationships>
</file>

<file path=ppt/slideLayouts/_rels/slideLayout3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tags" Target="../tags/tag503.xml"/><Relationship Id="rId7" Type="http://schemas.openxmlformats.org/officeDocument/2006/relationships/image" Target="../media/image12.png"/><Relationship Id="rId2" Type="http://schemas.openxmlformats.org/officeDocument/2006/relationships/tags" Target="../tags/tag502.xml"/><Relationship Id="rId1" Type="http://schemas.openxmlformats.org/officeDocument/2006/relationships/tags" Target="../tags/tag501.xml"/><Relationship Id="rId6" Type="http://schemas.openxmlformats.org/officeDocument/2006/relationships/image" Target="../media/image27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11.xml"/><Relationship Id="rId9" Type="http://schemas.openxmlformats.org/officeDocument/2006/relationships/image" Target="../media/image14.png"/></Relationships>
</file>

<file path=ppt/slideLayouts/_rels/slideLayout3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4.png"/><Relationship Id="rId2" Type="http://schemas.openxmlformats.org/officeDocument/2006/relationships/tags" Target="../tags/tag505.xml"/><Relationship Id="rId1" Type="http://schemas.openxmlformats.org/officeDocument/2006/relationships/tags" Target="../tags/tag504.xml"/><Relationship Id="rId6" Type="http://schemas.openxmlformats.org/officeDocument/2006/relationships/image" Target="../media/image2.png"/><Relationship Id="rId5" Type="http://schemas.openxmlformats.org/officeDocument/2006/relationships/image" Target="../media/image27.emf"/><Relationship Id="rId4" Type="http://schemas.openxmlformats.org/officeDocument/2006/relationships/oleObject" Target="../embeddings/oleObject33.bin"/></Relationships>
</file>

<file path=ppt/slideLayouts/_rels/slideLayout3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508.xml"/><Relationship Id="rId7" Type="http://schemas.openxmlformats.org/officeDocument/2006/relationships/image" Target="../media/image4.png"/><Relationship Id="rId2" Type="http://schemas.openxmlformats.org/officeDocument/2006/relationships/tags" Target="../tags/tag507.xml"/><Relationship Id="rId1" Type="http://schemas.openxmlformats.org/officeDocument/2006/relationships/tags" Target="../tags/tag506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11.xml"/></Relationships>
</file>

<file path=ppt/slideLayouts/_rels/slideLayout3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11.png"/><Relationship Id="rId2" Type="http://schemas.openxmlformats.org/officeDocument/2006/relationships/tags" Target="../tags/tag510.xml"/><Relationship Id="rId1" Type="http://schemas.openxmlformats.org/officeDocument/2006/relationships/tags" Target="../tags/tag509.xml"/><Relationship Id="rId6" Type="http://schemas.openxmlformats.org/officeDocument/2006/relationships/image" Target="../media/image4.png"/><Relationship Id="rId5" Type="http://schemas.openxmlformats.org/officeDocument/2006/relationships/image" Target="../media/image28.emf"/><Relationship Id="rId4" Type="http://schemas.openxmlformats.org/officeDocument/2006/relationships/oleObject" Target="../embeddings/oleObject35.bin"/></Relationships>
</file>

<file path=ppt/slideLayouts/_rels/slideLayout377.xml.rels><?xml version="1.0" encoding="UTF-8" standalone="yes"?>
<Relationships xmlns="http://schemas.openxmlformats.org/package/2006/relationships"><Relationship Id="rId3" Type="http://schemas.openxmlformats.org/officeDocument/2006/relationships/tags" Target="../tags/tag513.xml"/><Relationship Id="rId2" Type="http://schemas.openxmlformats.org/officeDocument/2006/relationships/tags" Target="../tags/tag512.xml"/><Relationship Id="rId1" Type="http://schemas.openxmlformats.org/officeDocument/2006/relationships/tags" Target="../tags/tag511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11.xml"/></Relationships>
</file>

<file path=ppt/slideLayouts/_rels/slideLayout378.xml.rels><?xml version="1.0" encoding="UTF-8" standalone="yes"?>
<Relationships xmlns="http://schemas.openxmlformats.org/package/2006/relationships"><Relationship Id="rId3" Type="http://schemas.openxmlformats.org/officeDocument/2006/relationships/tags" Target="../tags/tag516.xml"/><Relationship Id="rId2" Type="http://schemas.openxmlformats.org/officeDocument/2006/relationships/tags" Target="../tags/tag515.xml"/><Relationship Id="rId1" Type="http://schemas.openxmlformats.org/officeDocument/2006/relationships/tags" Target="../tags/tag514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11.xml"/></Relationships>
</file>

<file path=ppt/slideLayouts/_rels/slideLayout3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18.xml"/><Relationship Id="rId1" Type="http://schemas.openxmlformats.org/officeDocument/2006/relationships/tags" Target="../tags/tag51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38.bin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0.xml.rels><?xml version="1.0" encoding="UTF-8" standalone="yes"?>
<Relationships xmlns="http://schemas.openxmlformats.org/package/2006/relationships"><Relationship Id="rId3" Type="http://schemas.openxmlformats.org/officeDocument/2006/relationships/tags" Target="../tags/tag521.xml"/><Relationship Id="rId7" Type="http://schemas.openxmlformats.org/officeDocument/2006/relationships/image" Target="../media/image12.png"/><Relationship Id="rId2" Type="http://schemas.openxmlformats.org/officeDocument/2006/relationships/tags" Target="../tags/tag520.xml"/><Relationship Id="rId1" Type="http://schemas.openxmlformats.org/officeDocument/2006/relationships/tags" Target="../tags/tag519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11.xml"/></Relationships>
</file>

<file path=ppt/slideLayouts/_rels/slideLayout381.xml.rels><?xml version="1.0" encoding="UTF-8" standalone="yes"?>
<Relationships xmlns="http://schemas.openxmlformats.org/package/2006/relationships"><Relationship Id="rId3" Type="http://schemas.openxmlformats.org/officeDocument/2006/relationships/tags" Target="../tags/tag524.xml"/><Relationship Id="rId7" Type="http://schemas.openxmlformats.org/officeDocument/2006/relationships/image" Target="../media/image12.png"/><Relationship Id="rId2" Type="http://schemas.openxmlformats.org/officeDocument/2006/relationships/tags" Target="../tags/tag523.xml"/><Relationship Id="rId1" Type="http://schemas.openxmlformats.org/officeDocument/2006/relationships/tags" Target="../tags/tag522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11.xml"/></Relationships>
</file>

<file path=ppt/slideLayouts/_rels/slideLayout382.xml.rels><?xml version="1.0" encoding="UTF-8" standalone="yes"?>
<Relationships xmlns="http://schemas.openxmlformats.org/package/2006/relationships"><Relationship Id="rId3" Type="http://schemas.openxmlformats.org/officeDocument/2006/relationships/tags" Target="../tags/tag527.xml"/><Relationship Id="rId7" Type="http://schemas.openxmlformats.org/officeDocument/2006/relationships/image" Target="../media/image12.png"/><Relationship Id="rId2" Type="http://schemas.openxmlformats.org/officeDocument/2006/relationships/tags" Target="../tags/tag526.xml"/><Relationship Id="rId1" Type="http://schemas.openxmlformats.org/officeDocument/2006/relationships/tags" Target="../tags/tag525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11.xml"/></Relationships>
</file>

<file path=ppt/slideLayouts/_rels/slideLayout383.xml.rels><?xml version="1.0" encoding="UTF-8" standalone="yes"?>
<Relationships xmlns="http://schemas.openxmlformats.org/package/2006/relationships"><Relationship Id="rId3" Type="http://schemas.openxmlformats.org/officeDocument/2006/relationships/tags" Target="../tags/tag530.xml"/><Relationship Id="rId7" Type="http://schemas.openxmlformats.org/officeDocument/2006/relationships/image" Target="../media/image12.png"/><Relationship Id="rId2" Type="http://schemas.openxmlformats.org/officeDocument/2006/relationships/tags" Target="../tags/tag529.xml"/><Relationship Id="rId1" Type="http://schemas.openxmlformats.org/officeDocument/2006/relationships/tags" Target="../tags/tag528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11.xml"/></Relationships>
</file>

<file path=ppt/slideLayouts/_rels/slideLayout384.xml.rels><?xml version="1.0" encoding="UTF-8" standalone="yes"?>
<Relationships xmlns="http://schemas.openxmlformats.org/package/2006/relationships"><Relationship Id="rId3" Type="http://schemas.openxmlformats.org/officeDocument/2006/relationships/tags" Target="../tags/tag533.xml"/><Relationship Id="rId7" Type="http://schemas.openxmlformats.org/officeDocument/2006/relationships/image" Target="../media/image12.png"/><Relationship Id="rId2" Type="http://schemas.openxmlformats.org/officeDocument/2006/relationships/tags" Target="../tags/tag532.xml"/><Relationship Id="rId1" Type="http://schemas.openxmlformats.org/officeDocument/2006/relationships/tags" Target="../tags/tag531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11.xml"/></Relationships>
</file>

<file path=ppt/slideLayouts/_rels/slideLayout385.xml.rels><?xml version="1.0" encoding="UTF-8" standalone="yes"?>
<Relationships xmlns="http://schemas.openxmlformats.org/package/2006/relationships"><Relationship Id="rId3" Type="http://schemas.openxmlformats.org/officeDocument/2006/relationships/tags" Target="../tags/tag536.xml"/><Relationship Id="rId7" Type="http://schemas.openxmlformats.org/officeDocument/2006/relationships/image" Target="../media/image12.png"/><Relationship Id="rId2" Type="http://schemas.openxmlformats.org/officeDocument/2006/relationships/tags" Target="../tags/tag535.xml"/><Relationship Id="rId1" Type="http://schemas.openxmlformats.org/officeDocument/2006/relationships/tags" Target="../tags/tag534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11.xml"/></Relationships>
</file>

<file path=ppt/slideLayouts/_rels/slideLayout386.xml.rels><?xml version="1.0" encoding="UTF-8" standalone="yes"?>
<Relationships xmlns="http://schemas.openxmlformats.org/package/2006/relationships"><Relationship Id="rId3" Type="http://schemas.openxmlformats.org/officeDocument/2006/relationships/tags" Target="../tags/tag539.xml"/><Relationship Id="rId7" Type="http://schemas.openxmlformats.org/officeDocument/2006/relationships/image" Target="../media/image15.png"/><Relationship Id="rId2" Type="http://schemas.openxmlformats.org/officeDocument/2006/relationships/tags" Target="../tags/tag538.xml"/><Relationship Id="rId1" Type="http://schemas.openxmlformats.org/officeDocument/2006/relationships/tags" Target="../tags/tag537.x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11.xml"/></Relationships>
</file>

<file path=ppt/slideLayouts/_rels/slideLayout387.xml.rels><?xml version="1.0" encoding="UTF-8" standalone="yes"?>
<Relationships xmlns="http://schemas.openxmlformats.org/package/2006/relationships"><Relationship Id="rId3" Type="http://schemas.openxmlformats.org/officeDocument/2006/relationships/tags" Target="../tags/tag542.xml"/><Relationship Id="rId7" Type="http://schemas.openxmlformats.org/officeDocument/2006/relationships/image" Target="../media/image16.png"/><Relationship Id="rId2" Type="http://schemas.openxmlformats.org/officeDocument/2006/relationships/tags" Target="../tags/tag541.xml"/><Relationship Id="rId1" Type="http://schemas.openxmlformats.org/officeDocument/2006/relationships/tags" Target="../tags/tag540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11.xml"/></Relationships>
</file>

<file path=ppt/slideLayouts/_rels/slideLayout388.xml.rels><?xml version="1.0" encoding="UTF-8" standalone="yes"?>
<Relationships xmlns="http://schemas.openxmlformats.org/package/2006/relationships"><Relationship Id="rId3" Type="http://schemas.openxmlformats.org/officeDocument/2006/relationships/tags" Target="../tags/tag545.xml"/><Relationship Id="rId7" Type="http://schemas.openxmlformats.org/officeDocument/2006/relationships/image" Target="../media/image17.png"/><Relationship Id="rId2" Type="http://schemas.openxmlformats.org/officeDocument/2006/relationships/tags" Target="../tags/tag544.xml"/><Relationship Id="rId1" Type="http://schemas.openxmlformats.org/officeDocument/2006/relationships/tags" Target="../tags/tag543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11.xml"/></Relationships>
</file>

<file path=ppt/slideLayouts/_rels/slideLayout389.xml.rels><?xml version="1.0" encoding="UTF-8" standalone="yes"?>
<Relationships xmlns="http://schemas.openxmlformats.org/package/2006/relationships"><Relationship Id="rId3" Type="http://schemas.openxmlformats.org/officeDocument/2006/relationships/tags" Target="../tags/tag548.xml"/><Relationship Id="rId7" Type="http://schemas.openxmlformats.org/officeDocument/2006/relationships/image" Target="../media/image16.png"/><Relationship Id="rId2" Type="http://schemas.openxmlformats.org/officeDocument/2006/relationships/tags" Target="../tags/tag547.xml"/><Relationship Id="rId1" Type="http://schemas.openxmlformats.org/officeDocument/2006/relationships/tags" Target="../tags/tag546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1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0.xml.rels><?xml version="1.0" encoding="UTF-8" standalone="yes"?>
<Relationships xmlns="http://schemas.openxmlformats.org/package/2006/relationships"><Relationship Id="rId3" Type="http://schemas.openxmlformats.org/officeDocument/2006/relationships/tags" Target="../tags/tag551.xml"/><Relationship Id="rId7" Type="http://schemas.openxmlformats.org/officeDocument/2006/relationships/image" Target="../media/image15.png"/><Relationship Id="rId2" Type="http://schemas.openxmlformats.org/officeDocument/2006/relationships/tags" Target="../tags/tag550.xml"/><Relationship Id="rId1" Type="http://schemas.openxmlformats.org/officeDocument/2006/relationships/tags" Target="../tags/tag549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11.xml"/></Relationships>
</file>

<file path=ppt/slideLayouts/_rels/slideLayout391.xml.rels><?xml version="1.0" encoding="UTF-8" standalone="yes"?>
<Relationships xmlns="http://schemas.openxmlformats.org/package/2006/relationships"><Relationship Id="rId3" Type="http://schemas.openxmlformats.org/officeDocument/2006/relationships/tags" Target="../tags/tag554.xml"/><Relationship Id="rId7" Type="http://schemas.openxmlformats.org/officeDocument/2006/relationships/image" Target="../media/image16.png"/><Relationship Id="rId2" Type="http://schemas.openxmlformats.org/officeDocument/2006/relationships/tags" Target="../tags/tag553.xml"/><Relationship Id="rId1" Type="http://schemas.openxmlformats.org/officeDocument/2006/relationships/tags" Target="../tags/tag552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11.xml"/></Relationships>
</file>

<file path=ppt/slideLayouts/_rels/slideLayout392.xml.rels><?xml version="1.0" encoding="UTF-8" standalone="yes"?>
<Relationships xmlns="http://schemas.openxmlformats.org/package/2006/relationships"><Relationship Id="rId3" Type="http://schemas.openxmlformats.org/officeDocument/2006/relationships/tags" Target="../tags/tag557.xml"/><Relationship Id="rId7" Type="http://schemas.openxmlformats.org/officeDocument/2006/relationships/image" Target="../media/image15.png"/><Relationship Id="rId2" Type="http://schemas.openxmlformats.org/officeDocument/2006/relationships/tags" Target="../tags/tag556.xml"/><Relationship Id="rId1" Type="http://schemas.openxmlformats.org/officeDocument/2006/relationships/tags" Target="../tags/tag555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11.xml"/></Relationships>
</file>

<file path=ppt/slideLayouts/_rels/slideLayout393.xml.rels><?xml version="1.0" encoding="UTF-8" standalone="yes"?>
<Relationships xmlns="http://schemas.openxmlformats.org/package/2006/relationships"><Relationship Id="rId3" Type="http://schemas.openxmlformats.org/officeDocument/2006/relationships/tags" Target="../tags/tag560.xml"/><Relationship Id="rId7" Type="http://schemas.openxmlformats.org/officeDocument/2006/relationships/image" Target="../media/image16.png"/><Relationship Id="rId2" Type="http://schemas.openxmlformats.org/officeDocument/2006/relationships/tags" Target="../tags/tag559.xml"/><Relationship Id="rId1" Type="http://schemas.openxmlformats.org/officeDocument/2006/relationships/tags" Target="../tags/tag558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11.xml"/></Relationships>
</file>

<file path=ppt/slideLayouts/_rels/slideLayout394.xml.rels><?xml version="1.0" encoding="UTF-8" standalone="yes"?>
<Relationships xmlns="http://schemas.openxmlformats.org/package/2006/relationships"><Relationship Id="rId3" Type="http://schemas.openxmlformats.org/officeDocument/2006/relationships/tags" Target="../tags/tag563.xml"/><Relationship Id="rId2" Type="http://schemas.openxmlformats.org/officeDocument/2006/relationships/tags" Target="../tags/tag562.xml"/><Relationship Id="rId1" Type="http://schemas.openxmlformats.org/officeDocument/2006/relationships/tags" Target="../tags/tag561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11.xml"/></Relationships>
</file>

<file path=ppt/slideLayouts/_rels/slideLayout395.xml.rels><?xml version="1.0" encoding="UTF-8" standalone="yes"?>
<Relationships xmlns="http://schemas.openxmlformats.org/package/2006/relationships"><Relationship Id="rId3" Type="http://schemas.openxmlformats.org/officeDocument/2006/relationships/tags" Target="../tags/tag566.xml"/><Relationship Id="rId2" Type="http://schemas.openxmlformats.org/officeDocument/2006/relationships/tags" Target="../tags/tag565.xml"/><Relationship Id="rId1" Type="http://schemas.openxmlformats.org/officeDocument/2006/relationships/tags" Target="../tags/tag564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11.xml"/></Relationships>
</file>

<file path=ppt/slideLayouts/_rels/slideLayout3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567.xml"/><Relationship Id="rId5" Type="http://schemas.openxmlformats.org/officeDocument/2006/relationships/image" Target="../media/image18.png"/><Relationship Id="rId4" Type="http://schemas.openxmlformats.org/officeDocument/2006/relationships/image" Target="../media/image27.emf"/></Relationships>
</file>

<file path=ppt/slideLayouts/_rels/slideLayout397.xml.rels><?xml version="1.0" encoding="UTF-8" standalone="yes"?>
<Relationships xmlns="http://schemas.openxmlformats.org/package/2006/relationships"><Relationship Id="rId3" Type="http://schemas.openxmlformats.org/officeDocument/2006/relationships/tags" Target="../tags/tag570.xml"/><Relationship Id="rId2" Type="http://schemas.openxmlformats.org/officeDocument/2006/relationships/tags" Target="../tags/tag569.xml"/><Relationship Id="rId1" Type="http://schemas.openxmlformats.org/officeDocument/2006/relationships/tags" Target="../tags/tag568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56.bin"/><Relationship Id="rId4" Type="http://schemas.openxmlformats.org/officeDocument/2006/relationships/slideMaster" Target="../slideMasters/slideMaster11.xml"/></Relationships>
</file>

<file path=ppt/slideLayouts/_rels/slideLayout3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72.xml"/><Relationship Id="rId1" Type="http://schemas.openxmlformats.org/officeDocument/2006/relationships/tags" Target="../tags/tag571.xml"/><Relationship Id="rId6" Type="http://schemas.openxmlformats.org/officeDocument/2006/relationships/image" Target="../media/image15.png"/><Relationship Id="rId5" Type="http://schemas.openxmlformats.org/officeDocument/2006/relationships/image" Target="../media/image28.emf"/><Relationship Id="rId4" Type="http://schemas.openxmlformats.org/officeDocument/2006/relationships/oleObject" Target="../embeddings/oleObject57.bin"/></Relationships>
</file>

<file path=ppt/slideLayouts/_rels/slideLayout3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74.xml"/><Relationship Id="rId1" Type="http://schemas.openxmlformats.org/officeDocument/2006/relationships/tags" Target="../tags/tag57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58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76.xml"/><Relationship Id="rId1" Type="http://schemas.openxmlformats.org/officeDocument/2006/relationships/tags" Target="../tags/tag57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59.bin"/></Relationships>
</file>

<file path=ppt/slideLayouts/_rels/slideLayout4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78.xml"/><Relationship Id="rId1" Type="http://schemas.openxmlformats.org/officeDocument/2006/relationships/tags" Target="../tags/tag57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60.bin"/></Relationships>
</file>

<file path=ppt/slideLayouts/_rels/slideLayout4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19.png"/><Relationship Id="rId2" Type="http://schemas.openxmlformats.org/officeDocument/2006/relationships/tags" Target="../tags/tag580.xml"/><Relationship Id="rId1" Type="http://schemas.openxmlformats.org/officeDocument/2006/relationships/tags" Target="../tags/tag579.xml"/><Relationship Id="rId6" Type="http://schemas.openxmlformats.org/officeDocument/2006/relationships/image" Target="../media/image13.jpeg"/><Relationship Id="rId5" Type="http://schemas.openxmlformats.org/officeDocument/2006/relationships/image" Target="../media/image27.emf"/><Relationship Id="rId4" Type="http://schemas.openxmlformats.org/officeDocument/2006/relationships/oleObject" Target="../embeddings/oleObject61.bin"/></Relationships>
</file>

<file path=ppt/slideLayouts/_rels/slideLayout4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581.xml"/><Relationship Id="rId5" Type="http://schemas.openxmlformats.org/officeDocument/2006/relationships/image" Target="../media/image19.png"/><Relationship Id="rId4" Type="http://schemas.openxmlformats.org/officeDocument/2006/relationships/image" Target="../media/image27.emf"/></Relationships>
</file>

<file path=ppt/slideLayouts/_rels/slideLayout4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83.xml"/><Relationship Id="rId1" Type="http://schemas.openxmlformats.org/officeDocument/2006/relationships/tags" Target="../tags/tag58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63.bin"/></Relationships>
</file>

<file path=ppt/slideLayouts/_rels/slideLayout4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85.xml"/><Relationship Id="rId1" Type="http://schemas.openxmlformats.org/officeDocument/2006/relationships/tags" Target="../tags/tag584.xm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64.bin"/></Relationships>
</file>

<file path=ppt/slideLayouts/_rels/slideLayout4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586.xml"/><Relationship Id="rId4" Type="http://schemas.openxmlformats.org/officeDocument/2006/relationships/image" Target="../media/image26.emf"/></Relationships>
</file>

<file path=ppt/slideLayouts/_rels/slideLayout4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587.xml"/><Relationship Id="rId4" Type="http://schemas.openxmlformats.org/officeDocument/2006/relationships/image" Target="../media/image26.emf"/></Relationships>
</file>

<file path=ppt/slideLayouts/_rels/slideLayout4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89.xml"/><Relationship Id="rId1" Type="http://schemas.openxmlformats.org/officeDocument/2006/relationships/tags" Target="../tags/tag588.xml"/><Relationship Id="rId6" Type="http://schemas.openxmlformats.org/officeDocument/2006/relationships/image" Target="../media/image12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67.bin"/></Relationships>
</file>

<file path=ppt/slideLayouts/_rels/slideLayout4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91.xml"/><Relationship Id="rId1" Type="http://schemas.openxmlformats.org/officeDocument/2006/relationships/tags" Target="../tags/tag590.xm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68.bin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592.xml"/><Relationship Id="rId4" Type="http://schemas.openxmlformats.org/officeDocument/2006/relationships/image" Target="../media/image26.emf"/></Relationships>
</file>

<file path=ppt/slideLayouts/_rels/slideLayout4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593.xml"/><Relationship Id="rId4" Type="http://schemas.openxmlformats.org/officeDocument/2006/relationships/image" Target="../media/image26.emf"/></Relationships>
</file>

<file path=ppt/slideLayouts/_rels/slideLayout4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95.xml"/><Relationship Id="rId1" Type="http://schemas.openxmlformats.org/officeDocument/2006/relationships/tags" Target="../tags/tag594.xml"/><Relationship Id="rId6" Type="http://schemas.openxmlformats.org/officeDocument/2006/relationships/image" Target="../media/image12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71.bin"/></Relationships>
</file>

<file path=ppt/slideLayouts/_rels/slideLayout4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596.xml"/><Relationship Id="rId5" Type="http://schemas.openxmlformats.org/officeDocument/2006/relationships/image" Target="../media/image15.png"/><Relationship Id="rId4" Type="http://schemas.openxmlformats.org/officeDocument/2006/relationships/image" Target="../media/image26.emf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98.xml"/><Relationship Id="rId1" Type="http://schemas.openxmlformats.org/officeDocument/2006/relationships/tags" Target="../tags/tag597.xml"/><Relationship Id="rId5" Type="http://schemas.openxmlformats.org/officeDocument/2006/relationships/image" Target="../media/image4.png"/><Relationship Id="rId4" Type="http://schemas.openxmlformats.org/officeDocument/2006/relationships/image" Target="../media/image11.pn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1.png"/><Relationship Id="rId4" Type="http://schemas.openxmlformats.org/officeDocument/2006/relationships/image" Target="../media/image4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4.png"/><Relationship Id="rId5" Type="http://schemas.openxmlformats.org/officeDocument/2006/relationships/image" Target="../media/image13.jpeg"/><Relationship Id="rId4" Type="http://schemas.openxmlformats.org/officeDocument/2006/relationships/image" Target="../media/image12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8.xml"/><Relationship Id="rId4" Type="http://schemas.openxmlformats.org/officeDocument/2006/relationships/image" Target="../media/image4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1.png"/><Relationship Id="rId4" Type="http://schemas.openxmlformats.org/officeDocument/2006/relationships/image" Target="../media/image4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1.xml"/><Relationship Id="rId4" Type="http://schemas.openxmlformats.org/officeDocument/2006/relationships/image" Target="../media/image11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6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4" Type="http://schemas.openxmlformats.org/officeDocument/2006/relationships/image" Target="../media/image12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4" Type="http://schemas.openxmlformats.org/officeDocument/2006/relationships/image" Target="../media/image12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4" Type="http://schemas.openxmlformats.org/officeDocument/2006/relationships/image" Target="../media/image12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4" Type="http://schemas.openxmlformats.org/officeDocument/2006/relationships/image" Target="../media/image12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4" Type="http://schemas.openxmlformats.org/officeDocument/2006/relationships/image" Target="../media/image12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4" Type="http://schemas.openxmlformats.org/officeDocument/2006/relationships/image" Target="../media/image15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4" Type="http://schemas.openxmlformats.org/officeDocument/2006/relationships/image" Target="../media/image16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4" Type="http://schemas.openxmlformats.org/officeDocument/2006/relationships/image" Target="../media/image17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4" Type="http://schemas.openxmlformats.org/officeDocument/2006/relationships/image" Target="../media/image16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4" Type="http://schemas.openxmlformats.org/officeDocument/2006/relationships/image" Target="../media/image15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4" Type="http://schemas.openxmlformats.org/officeDocument/2006/relationships/image" Target="../media/image16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4" Type="http://schemas.openxmlformats.org/officeDocument/2006/relationships/image" Target="../media/image15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4" Type="http://schemas.openxmlformats.org/officeDocument/2006/relationships/image" Target="../media/image16.pn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4.xml"/><Relationship Id="rId1" Type="http://schemas.openxmlformats.org/officeDocument/2006/relationships/tags" Target="../tags/tag4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6.xml"/><Relationship Id="rId1" Type="http://schemas.openxmlformats.org/officeDocument/2006/relationships/tags" Target="../tags/tag45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8.xml"/><Relationship Id="rId1" Type="http://schemas.openxmlformats.org/officeDocument/2006/relationships/tags" Target="../tags/tag4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49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50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51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2.xml"/><Relationship Id="rId4" Type="http://schemas.openxmlformats.org/officeDocument/2006/relationships/image" Target="../media/image19.png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5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14.png"/><Relationship Id="rId5" Type="http://schemas.openxmlformats.org/officeDocument/2006/relationships/image" Target="../media/image13.jpeg"/><Relationship Id="rId4" Type="http://schemas.openxmlformats.org/officeDocument/2006/relationships/image" Target="../media/image12.pn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6.xml"/><Relationship Id="rId4" Type="http://schemas.openxmlformats.org/officeDocument/2006/relationships/image" Target="../media/image4.png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5" Type="http://schemas.openxmlformats.org/officeDocument/2006/relationships/image" Target="../media/image11.png"/><Relationship Id="rId4" Type="http://schemas.openxmlformats.org/officeDocument/2006/relationships/image" Target="../media/image4.pn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9.xml"/><Relationship Id="rId4" Type="http://schemas.openxmlformats.org/officeDocument/2006/relationships/image" Target="../media/image11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1.xml"/><Relationship Id="rId1" Type="http://schemas.openxmlformats.org/officeDocument/2006/relationships/tags" Target="../tags/tag60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3.xml"/><Relationship Id="rId1" Type="http://schemas.openxmlformats.org/officeDocument/2006/relationships/tags" Target="../tags/tag62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64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4" Type="http://schemas.openxmlformats.org/officeDocument/2006/relationships/image" Target="../media/image12.pn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4" Type="http://schemas.openxmlformats.org/officeDocument/2006/relationships/image" Target="../media/image12.png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4" Type="http://schemas.openxmlformats.org/officeDocument/2006/relationships/image" Target="../media/image12.png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4" Type="http://schemas.openxmlformats.org/officeDocument/2006/relationships/image" Target="../media/image12.png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4" Type="http://schemas.openxmlformats.org/officeDocument/2006/relationships/image" Target="../media/image12.png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4" Type="http://schemas.openxmlformats.org/officeDocument/2006/relationships/image" Target="../media/image12.pn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4" Type="http://schemas.openxmlformats.org/officeDocument/2006/relationships/image" Target="../media/image15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4" Type="http://schemas.openxmlformats.org/officeDocument/2006/relationships/image" Target="../media/image16.png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4" Type="http://schemas.openxmlformats.org/officeDocument/2006/relationships/image" Target="../media/image17.png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4" Type="http://schemas.openxmlformats.org/officeDocument/2006/relationships/image" Target="../media/image16.png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4" Type="http://schemas.openxmlformats.org/officeDocument/2006/relationships/image" Target="../media/image15.png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4" Type="http://schemas.openxmlformats.org/officeDocument/2006/relationships/image" Target="../media/image16.png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4" Type="http://schemas.openxmlformats.org/officeDocument/2006/relationships/image" Target="../media/image15.png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4" Type="http://schemas.openxmlformats.org/officeDocument/2006/relationships/image" Target="../media/image16.png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4.xml"/><Relationship Id="rId1" Type="http://schemas.openxmlformats.org/officeDocument/2006/relationships/tags" Target="../tags/tag93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6.xml"/><Relationship Id="rId1" Type="http://schemas.openxmlformats.org/officeDocument/2006/relationships/tags" Target="../tags/tag95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395895-F29C-4166-A949-0FBA29CB659F}" type="slidenum">
              <a:rPr lang="en-US" altLang="en-US" smtClean="0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237168152"/>
      </p:ext>
    </p:extLst>
  </p:cSld>
  <p:clrMapOvr>
    <a:masterClrMapping/>
  </p:clrMapOvr>
  <p:transition spd="slow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3441107B-8C77-42F8-B446-35252489FA3B}" type="slidenum">
              <a:rPr lang="en-US" altLang="en-US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6400" y="152400"/>
            <a:ext cx="3222489" cy="870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1653207"/>
      </p:ext>
    </p:extLst>
  </p:cSld>
  <p:clrMapOvr>
    <a:masterClrMapping/>
  </p:clrMapOvr>
  <p:transition spd="slow"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 bwMode="white"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2844970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rgbClr val="EF4F50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45292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3837779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2906368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525453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TitleAndEndImages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103" y="1993900"/>
            <a:ext cx="9725794" cy="2626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6619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103" y="1993900"/>
            <a:ext cx="9725794" cy="2626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921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xxxx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368707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Rectangle 11"/>
          <p:cNvSpPr/>
          <p:nvPr userDrawn="1">
            <p:custDataLst>
              <p:tags r:id="rId1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8"/>
            <a:ext cx="3448800" cy="122046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29987" y="1115416"/>
            <a:ext cx="2448106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2081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28995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9" y="457200"/>
            <a:ext cx="393276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717" y="987428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 marL="742950" indent="-285750">
              <a:buFontTx/>
              <a:buBlip>
                <a:blip r:embed="rId2"/>
              </a:buBlip>
              <a:defRPr sz="2800"/>
            </a:lvl2pPr>
            <a:lvl3pPr>
              <a:defRPr sz="2400"/>
            </a:lvl3pPr>
            <a:lvl4pPr marL="1600200" indent="-228600">
              <a:buFontTx/>
              <a:buBlip>
                <a:blip r:embed="rId2"/>
              </a:buBlip>
              <a:defRPr sz="2000"/>
            </a:lvl4pPr>
            <a:lvl5pPr marL="2057400" indent="-228600">
              <a:buFontTx/>
              <a:buBlip>
                <a:blip r:embed="rId2"/>
              </a:buBlip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9" y="2057400"/>
            <a:ext cx="393276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9F86C686-0772-45B8-914C-D31104D043B5}" type="slidenum">
              <a:rPr lang="en-US" altLang="en-US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9333960"/>
      </p:ext>
    </p:extLst>
  </p:cSld>
  <p:clrMapOvr>
    <a:masterClrMapping/>
  </p:clrMapOvr>
  <p:transition spd="slow"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4754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93717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5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>
            <p:custDataLst>
              <p:tags r:id="rId1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5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7"/>
            <a:ext cx="3448800" cy="1220467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29987" y="1115416"/>
            <a:ext cx="2448106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8611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5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5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78285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5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2983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490010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68061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pic>
        <p:nvPicPr>
          <p:cNvPr id="16" name="TitleAndEndImages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056"/>
          <a:stretch/>
        </p:blipFill>
        <p:spPr>
          <a:xfrm>
            <a:off x="0" y="0"/>
            <a:ext cx="12192000" cy="527685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57" t="26711" r="9200" b="21208"/>
          <a:stretch/>
        </p:blipFill>
        <p:spPr>
          <a:xfrm>
            <a:off x="9026103" y="5658416"/>
            <a:ext cx="2904565" cy="502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9123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60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ctrTitle"/>
          </p:nvPr>
        </p:nvSpPr>
        <p:spPr>
          <a:xfrm>
            <a:off x="1524000" y="1847970"/>
            <a:ext cx="9144000" cy="1661993"/>
          </a:xfrm>
          <a:prstGeom prst="rect">
            <a:avLst/>
          </a:prstGeom>
        </p:spPr>
        <p:txBody>
          <a:bodyPr anchor="b">
            <a:spAutoFit/>
          </a:bodyPr>
          <a:lstStyle>
            <a:lvl1pPr algn="ctr">
              <a:defRPr sz="600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40626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2400">
                <a:latin typeface="+mn-lt"/>
                <a:ea typeface="+mn-ea"/>
                <a:cs typeface="+mn-cs"/>
                <a:sym typeface="+mn-lt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4177" y="6319251"/>
            <a:ext cx="12270013" cy="538749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1" t="5934" r="211" b="82200"/>
          <a:stretch/>
        </p:blipFill>
        <p:spPr>
          <a:xfrm>
            <a:off x="-25401" y="-12699"/>
            <a:ext cx="12217401" cy="104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6130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" t="5934" r="420" b="82200"/>
          <a:stretch/>
        </p:blipFill>
        <p:spPr>
          <a:xfrm>
            <a:off x="-25401" y="-12699"/>
            <a:ext cx="12192001" cy="1041400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9514" y="-19665"/>
            <a:ext cx="2219874" cy="599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9206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9" y="457200"/>
            <a:ext cx="393276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717" y="987428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9" y="2057400"/>
            <a:ext cx="393276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31154C51-E7FE-4BE2-964D-9EA2413477DA}" type="slidenum">
              <a:rPr lang="en-US" altLang="en-US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7412848"/>
      </p:ext>
    </p:extLst>
  </p:cSld>
  <p:clrMapOvr>
    <a:masterClrMapping/>
  </p:clrMapOvr>
  <p:transition spd="slow"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</p:spPr>
        <p:txBody>
          <a:bodyPr/>
          <a:lstStyle>
            <a:lvl1pPr>
              <a:defRPr sz="340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" t="5934" r="420" b="82200"/>
          <a:stretch/>
        </p:blipFill>
        <p:spPr>
          <a:xfrm>
            <a:off x="-25401" y="-12699"/>
            <a:ext cx="12192001" cy="10414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9514" y="-19665"/>
            <a:ext cx="2219874" cy="599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4369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2310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3393788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50637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1610951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200776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3168927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3920755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1854853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17084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0" y="830266"/>
            <a:ext cx="9791700" cy="84613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14400" y="1905000"/>
            <a:ext cx="11713633" cy="50292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832DC5D3-AD41-4659-866A-5CB0CB3446CC}" type="slidenum">
              <a:rPr lang="en-US" altLang="en-US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2235014"/>
      </p:ext>
    </p:extLst>
  </p:cSld>
  <p:clrMapOvr>
    <a:masterClrMapping/>
  </p:clrMapOvr>
  <p:transition spd="slow"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808080"/>
              </a:gs>
              <a:gs pos="100000">
                <a:srgbClr val="60606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015390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59203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808080"/>
              </a:gs>
              <a:gs pos="100000">
                <a:srgbClr val="60606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435021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51282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808080"/>
              </a:gs>
              <a:gs pos="100000">
                <a:srgbClr val="60606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906244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07691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808080"/>
              </a:gs>
              <a:gs pos="100000">
                <a:srgbClr val="60606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177282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2841644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7A7A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2614772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808080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33057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78900" y="68266"/>
            <a:ext cx="2937933" cy="6103937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65100" y="68266"/>
            <a:ext cx="8610600" cy="6103937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58A21856-27AF-4D70-8135-22471679316B}" type="slidenum">
              <a:rPr lang="en-US" altLang="en-US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36484"/>
      </p:ext>
    </p:extLst>
  </p:cSld>
  <p:clrMapOvr>
    <a:masterClrMapping/>
  </p:clrMapOvr>
  <p:transition spd="slow"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 bwMode="white"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1008820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3904806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3846100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2772624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TitleAndEndImages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103" y="1993900"/>
            <a:ext cx="9725794" cy="2626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208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103" y="1993900"/>
            <a:ext cx="9725794" cy="2626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4694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xxxx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2593925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pic>
        <p:nvPicPr>
          <p:cNvPr id="13" name="TitleAndEndImages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056"/>
          <a:stretch/>
        </p:blipFill>
        <p:spPr>
          <a:xfrm>
            <a:off x="0" y="0"/>
            <a:ext cx="12192000" cy="527685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57" t="26711" r="9200" b="21208"/>
          <a:stretch/>
        </p:blipFill>
        <p:spPr>
          <a:xfrm>
            <a:off x="9026103" y="5658416"/>
            <a:ext cx="2904565" cy="502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1990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60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1524000" y="1847970"/>
            <a:ext cx="9144000" cy="1661993"/>
          </a:xfrm>
          <a:prstGeom prst="rect">
            <a:avLst/>
          </a:prstGeom>
        </p:spPr>
        <p:txBody>
          <a:bodyPr anchor="b">
            <a:spAutoFit/>
          </a:bodyPr>
          <a:lstStyle>
            <a:lvl1pPr algn="ctr">
              <a:defRPr sz="600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40626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2400">
                <a:latin typeface="+mn-lt"/>
                <a:ea typeface="+mn-ea"/>
                <a:cs typeface="+mn-cs"/>
                <a:sym typeface="+mn-lt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4177" y="6319251"/>
            <a:ext cx="12270013" cy="538749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1" t="5934" r="211" b="82200"/>
          <a:stretch/>
        </p:blipFill>
        <p:spPr>
          <a:xfrm>
            <a:off x="-25401" y="-12699"/>
            <a:ext cx="12217401" cy="104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889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" t="5934" r="420" b="82200"/>
          <a:stretch/>
        </p:blipFill>
        <p:spPr>
          <a:xfrm>
            <a:off x="-25401" y="-12699"/>
            <a:ext cx="12192001" cy="10414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9514" y="-19665"/>
            <a:ext cx="2219874" cy="599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7877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0" y="830266"/>
            <a:ext cx="9791700" cy="84613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B95E0E-41D0-4AD1-8CD3-546D4999BB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345557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" t="5934" r="420" b="82200"/>
          <a:stretch/>
        </p:blipFill>
        <p:spPr>
          <a:xfrm>
            <a:off x="-25401" y="-12699"/>
            <a:ext cx="12192001" cy="10414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9514" y="-19665"/>
            <a:ext cx="2219874" cy="599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0921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EF4F50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1231246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accent5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595302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ection header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accent5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5703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112937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112937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1655191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3736297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3266638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2097524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2316132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1296357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0" y="830266"/>
            <a:ext cx="9791700" cy="84613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905000"/>
            <a:ext cx="11713633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A65FE3-EFCB-4EDD-8916-09428BE0C2CC}" type="slidenum">
              <a:rPr lang="en-US" altLang="en-US" smtClean="0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585362636"/>
      </p:ext>
    </p:extLst>
  </p:cSld>
  <p:clrMapOvr>
    <a:masterClrMapping/>
  </p:clrMapOvr>
  <p:transition spd="slow"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0105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808080"/>
              </a:gs>
              <a:gs pos="100000">
                <a:srgbClr val="60606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229145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46955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808080"/>
              </a:gs>
              <a:gs pos="100000">
                <a:srgbClr val="60606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825527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60952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808080"/>
              </a:gs>
              <a:gs pos="100000">
                <a:srgbClr val="60606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065609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93735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808080"/>
              </a:gs>
              <a:gs pos="100000">
                <a:srgbClr val="60606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893171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2157255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7A7A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884104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846E44-F37D-43F9-8A38-116A556C253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1341382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808080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74807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 bwMode="white"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1958490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rgbClr val="EF4F50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03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839231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1766142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223384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TitleAndEndImages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103" y="1993900"/>
            <a:ext cx="9725794" cy="2626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97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103" y="1993900"/>
            <a:ext cx="9725794" cy="2626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8685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xxxx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4221486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Rectangle 11"/>
          <p:cNvSpPr/>
          <p:nvPr userDrawn="1">
            <p:custDataLst>
              <p:tags r:id="rId1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8"/>
            <a:ext cx="3448800" cy="122046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29987" y="1115416"/>
            <a:ext cx="2448106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06012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0" y="830266"/>
            <a:ext cx="9791700" cy="84613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2019938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84047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3369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954373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5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>
            <p:custDataLst>
              <p:tags r:id="rId1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5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7"/>
            <a:ext cx="3448800" cy="1220467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29987" y="1115416"/>
            <a:ext cx="2448106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891979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5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5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08304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5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7922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404331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030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pic>
        <p:nvPicPr>
          <p:cNvPr id="16" name="TitleAndEndImages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056"/>
          <a:stretch/>
        </p:blipFill>
        <p:spPr>
          <a:xfrm>
            <a:off x="0" y="0"/>
            <a:ext cx="12192000" cy="527685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57" t="26711" r="9200" b="21208"/>
          <a:stretch/>
        </p:blipFill>
        <p:spPr>
          <a:xfrm>
            <a:off x="9026103" y="5658416"/>
            <a:ext cx="2904565" cy="502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4126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60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ctrTitle"/>
          </p:nvPr>
        </p:nvSpPr>
        <p:spPr>
          <a:xfrm>
            <a:off x="1524000" y="1847970"/>
            <a:ext cx="9144000" cy="1661993"/>
          </a:xfrm>
          <a:prstGeom prst="rect">
            <a:avLst/>
          </a:prstGeom>
        </p:spPr>
        <p:txBody>
          <a:bodyPr anchor="b">
            <a:spAutoFit/>
          </a:bodyPr>
          <a:lstStyle>
            <a:lvl1pPr algn="ctr">
              <a:defRPr sz="600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40626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2400">
                <a:latin typeface="+mn-lt"/>
                <a:ea typeface="+mn-ea"/>
                <a:cs typeface="+mn-cs"/>
                <a:sym typeface="+mn-lt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4177" y="6319251"/>
            <a:ext cx="12270013" cy="538749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1" t="5934" r="211" b="82200"/>
          <a:stretch/>
        </p:blipFill>
        <p:spPr>
          <a:xfrm>
            <a:off x="-25401" y="-12699"/>
            <a:ext cx="12217401" cy="104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7690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395895-F29C-4166-A949-0FBA29CB659F}" type="slidenum">
              <a:rPr lang="en-US" altLang="en-US" smtClean="0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602219180"/>
      </p:ext>
    </p:extLst>
  </p:cSld>
  <p:clrMapOvr>
    <a:masterClrMapping/>
  </p:clrMapOvr>
  <p:transition spd="slow">
    <p:fad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" t="5934" r="420" b="82200"/>
          <a:stretch/>
        </p:blipFill>
        <p:spPr>
          <a:xfrm>
            <a:off x="-25401" y="-12699"/>
            <a:ext cx="12192001" cy="1041400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9514" y="-19665"/>
            <a:ext cx="2219874" cy="599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6736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</p:spPr>
        <p:txBody>
          <a:bodyPr/>
          <a:lstStyle>
            <a:lvl1pPr>
              <a:defRPr sz="340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" t="5934" r="420" b="82200"/>
          <a:stretch/>
        </p:blipFill>
        <p:spPr>
          <a:xfrm>
            <a:off x="-25401" y="-12699"/>
            <a:ext cx="12192001" cy="10414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9514" y="-19665"/>
            <a:ext cx="2219874" cy="599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8129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07543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28371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58300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601813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2021269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2199462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3567435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20708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3441107B-8C77-42F8-B446-35252489FA3B}" type="slidenum">
              <a:rPr lang="en-US" altLang="en-US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6400" y="152400"/>
            <a:ext cx="3222489" cy="870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1091634"/>
      </p:ext>
    </p:extLst>
  </p:cSld>
  <p:clrMapOvr>
    <a:masterClrMapping/>
  </p:clrMapOvr>
  <p:transition spd="slow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3441107B-8C77-42F8-B446-35252489FA3B}" type="slidenum">
              <a:rPr lang="en-US" altLang="en-US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033371"/>
      </p:ext>
    </p:extLst>
  </p:cSld>
  <p:clrMapOvr>
    <a:masterClrMapping/>
  </p:clrMapOvr>
  <p:transition spd="slow">
    <p:fad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23139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808080"/>
              </a:gs>
              <a:gs pos="100000">
                <a:srgbClr val="60606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290977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46168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808080"/>
              </a:gs>
              <a:gs pos="100000">
                <a:srgbClr val="60606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865782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72162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808080"/>
              </a:gs>
              <a:gs pos="100000">
                <a:srgbClr val="60606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50617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4226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808080"/>
              </a:gs>
              <a:gs pos="100000">
                <a:srgbClr val="60606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075841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1106649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7A7A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415575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3441107B-8C77-42F8-B446-35252489FA3B}" type="slidenum">
              <a:rPr lang="en-US" altLang="en-US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471569" y="788513"/>
            <a:ext cx="9791700" cy="846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6" tIns="45718" rIns="91436" bIns="45718" numCol="1" anchor="ctr" anchorCtr="0" compatLnSpc="1">
            <a:prstTxWarp prst="textNoShape">
              <a:avLst/>
            </a:prstTxWarp>
          </a:bodyPr>
          <a:lstStyle>
            <a:lvl1pPr>
              <a:defRPr sz="2800"/>
            </a:lvl1pPr>
          </a:lstStyle>
          <a:p>
            <a:pPr lvl="0"/>
            <a:r>
              <a:rPr lang="en-US" altLang="en-US" dirty="0"/>
              <a:t>Click to edit Master 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3152" y="990600"/>
            <a:ext cx="441964" cy="441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5455854"/>
      </p:ext>
    </p:extLst>
  </p:cSld>
  <p:clrMapOvr>
    <a:masterClrMapping/>
  </p:clrMapOvr>
  <p:transition spd="slow">
    <p:fade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808080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64003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cial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 bwMode="white"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365816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3705383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428645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2579185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TitleAndEndImages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103" y="1993900"/>
            <a:ext cx="9725794" cy="2626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6675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103" y="1993900"/>
            <a:ext cx="9725794" cy="2626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901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xxxx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1778357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pic>
        <p:nvPicPr>
          <p:cNvPr id="13" name="TitleAndEndImages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056"/>
          <a:stretch/>
        </p:blipFill>
        <p:spPr>
          <a:xfrm>
            <a:off x="0" y="0"/>
            <a:ext cx="12192000" cy="527685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57" t="26711" r="9200" b="21208"/>
          <a:stretch/>
        </p:blipFill>
        <p:spPr>
          <a:xfrm>
            <a:off x="9026103" y="5658416"/>
            <a:ext cx="2904565" cy="502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489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60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1524000" y="1847970"/>
            <a:ext cx="9144000" cy="1661993"/>
          </a:xfrm>
          <a:prstGeom prst="rect">
            <a:avLst/>
          </a:prstGeom>
        </p:spPr>
        <p:txBody>
          <a:bodyPr anchor="b">
            <a:spAutoFit/>
          </a:bodyPr>
          <a:lstStyle>
            <a:lvl1pPr algn="ctr">
              <a:defRPr sz="600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40626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2400">
                <a:latin typeface="+mn-lt"/>
                <a:ea typeface="+mn-ea"/>
                <a:cs typeface="+mn-cs"/>
                <a:sym typeface="+mn-lt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4177" y="6319251"/>
            <a:ext cx="12270013" cy="538749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1" t="5934" r="211" b="82200"/>
          <a:stretch/>
        </p:blipFill>
        <p:spPr>
          <a:xfrm>
            <a:off x="-25401" y="-12699"/>
            <a:ext cx="12217401" cy="104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3506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9" y="457200"/>
            <a:ext cx="393276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717" y="987428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 marL="742950" indent="-285750">
              <a:buFontTx/>
              <a:buBlip>
                <a:blip r:embed="rId2"/>
              </a:buBlip>
              <a:defRPr sz="2800"/>
            </a:lvl2pPr>
            <a:lvl3pPr>
              <a:defRPr sz="2400"/>
            </a:lvl3pPr>
            <a:lvl4pPr marL="1600200" indent="-228600">
              <a:buFontTx/>
              <a:buBlip>
                <a:blip r:embed="rId2"/>
              </a:buBlip>
              <a:defRPr sz="2000"/>
            </a:lvl4pPr>
            <a:lvl5pPr marL="2057400" indent="-228600">
              <a:buFontTx/>
              <a:buBlip>
                <a:blip r:embed="rId2"/>
              </a:buBlip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9" y="2057400"/>
            <a:ext cx="393276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9F86C686-0772-45B8-914C-D31104D043B5}" type="slidenum">
              <a:rPr lang="en-US" altLang="en-US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7483231"/>
      </p:ext>
    </p:extLst>
  </p:cSld>
  <p:clrMapOvr>
    <a:masterClrMapping/>
  </p:clrMapOvr>
  <p:transition spd="slow">
    <p:fade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" t="5934" r="420" b="82200"/>
          <a:stretch/>
        </p:blipFill>
        <p:spPr>
          <a:xfrm>
            <a:off x="-25401" y="-12699"/>
            <a:ext cx="12192001" cy="10414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9514" y="-19665"/>
            <a:ext cx="2219874" cy="599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0344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" t="5934" r="420" b="82200"/>
          <a:stretch/>
        </p:blipFill>
        <p:spPr>
          <a:xfrm>
            <a:off x="-25401" y="-12699"/>
            <a:ext cx="12192001" cy="10414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9514" y="-19665"/>
            <a:ext cx="2219874" cy="599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110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EF4F50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4101178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accent5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3516559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accent5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8704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White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112937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112937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741437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1650553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Four column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1876468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3011363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3910455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9" y="457200"/>
            <a:ext cx="393276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717" y="987428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9" y="2057400"/>
            <a:ext cx="393276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31154C51-E7FE-4BE2-964D-9EA2413477DA}" type="slidenum">
              <a:rPr lang="en-US" altLang="en-US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9638397"/>
      </p:ext>
    </p:extLst>
  </p:cSld>
  <p:clrMapOvr>
    <a:masterClrMapping/>
  </p:clrMapOvr>
  <p:transition spd="slow">
    <p:fade/>
  </p:transition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4240926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24945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808080"/>
              </a:gs>
              <a:gs pos="100000">
                <a:srgbClr val="60606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676231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46177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808080"/>
              </a:gs>
              <a:gs pos="100000">
                <a:srgbClr val="60606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141341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86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808080"/>
              </a:gs>
              <a:gs pos="100000">
                <a:srgbClr val="60606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557799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81962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808080"/>
              </a:gs>
              <a:gs pos="100000">
                <a:srgbClr val="60606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712464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2793707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0" y="830266"/>
            <a:ext cx="9791700" cy="84613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14400" y="1905000"/>
            <a:ext cx="11713633" cy="50292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832DC5D3-AD41-4659-866A-5CB0CB3446CC}" type="slidenum">
              <a:rPr lang="en-US" altLang="en-US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4477025"/>
      </p:ext>
    </p:extLst>
  </p:cSld>
  <p:clrMapOvr>
    <a:masterClrMapping/>
  </p:clrMapOvr>
  <p:transition spd="slow">
    <p:fade/>
  </p:transition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7A7A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3423560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808080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24250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pecial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 bwMode="white"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2799389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rgbClr val="EF4F50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89889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3795857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186618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1101957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TitleAndEndImages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103" y="1993900"/>
            <a:ext cx="9725794" cy="2626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1547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D. En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103" y="1993900"/>
            <a:ext cx="9725794" cy="2626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3570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xxxx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4184485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78900" y="68266"/>
            <a:ext cx="2937933" cy="6103937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65100" y="68266"/>
            <a:ext cx="8610600" cy="6103937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58A21856-27AF-4D70-8135-22471679316B}" type="slidenum">
              <a:rPr lang="en-US" altLang="en-US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4734869"/>
      </p:ext>
    </p:extLst>
  </p:cSld>
  <p:clrMapOvr>
    <a:masterClrMapping/>
  </p:clrMapOvr>
  <p:transition spd="slow">
    <p:fade/>
  </p:transition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Rectangle 11"/>
          <p:cNvSpPr/>
          <p:nvPr userDrawn="1">
            <p:custDataLst>
              <p:tags r:id="rId1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8"/>
            <a:ext cx="3448800" cy="122046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29987" y="1115416"/>
            <a:ext cx="2448106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98083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57148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9394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wo-Thi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133728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5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>
            <p:custDataLst>
              <p:tags r:id="rId1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5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7"/>
            <a:ext cx="3448800" cy="1220467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29987" y="1115416"/>
            <a:ext cx="2448106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368002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5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5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74088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5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9460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. Two-Thi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066988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.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76401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pic>
        <p:nvPicPr>
          <p:cNvPr id="16" name="TitleAndEndImages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056"/>
          <a:stretch/>
        </p:blipFill>
        <p:spPr>
          <a:xfrm>
            <a:off x="0" y="0"/>
            <a:ext cx="12192000" cy="527685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57" t="26711" r="9200" b="21208"/>
          <a:stretch/>
        </p:blipFill>
        <p:spPr>
          <a:xfrm>
            <a:off x="9026103" y="5658416"/>
            <a:ext cx="2904565" cy="502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5183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0" y="830266"/>
            <a:ext cx="9791700" cy="84613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B95E0E-41D0-4AD1-8CD3-546D4999BB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5924154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60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ctrTitle"/>
          </p:nvPr>
        </p:nvSpPr>
        <p:spPr>
          <a:xfrm>
            <a:off x="1524000" y="1847970"/>
            <a:ext cx="9144000" cy="1661993"/>
          </a:xfrm>
          <a:prstGeom prst="rect">
            <a:avLst/>
          </a:prstGeom>
        </p:spPr>
        <p:txBody>
          <a:bodyPr anchor="b">
            <a:spAutoFit/>
          </a:bodyPr>
          <a:lstStyle>
            <a:lvl1pPr algn="ctr">
              <a:defRPr sz="600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40626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2400">
                <a:latin typeface="+mn-lt"/>
                <a:ea typeface="+mn-ea"/>
                <a:cs typeface="+mn-cs"/>
                <a:sym typeface="+mn-lt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4177" y="6319251"/>
            <a:ext cx="12270013" cy="538749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1" t="5934" r="211" b="82200"/>
          <a:stretch/>
        </p:blipFill>
        <p:spPr>
          <a:xfrm>
            <a:off x="-25401" y="-12699"/>
            <a:ext cx="12217401" cy="104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0825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" t="5934" r="420" b="82200"/>
          <a:stretch/>
        </p:blipFill>
        <p:spPr>
          <a:xfrm>
            <a:off x="-25401" y="-12699"/>
            <a:ext cx="12192001" cy="1041400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9514" y="-19665"/>
            <a:ext cx="2219874" cy="599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7312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</p:spPr>
        <p:txBody>
          <a:bodyPr/>
          <a:lstStyle>
            <a:lvl1pPr>
              <a:defRPr sz="340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" t="5934" r="420" b="82200"/>
          <a:stretch/>
        </p:blipFill>
        <p:spPr>
          <a:xfrm>
            <a:off x="-25401" y="-12699"/>
            <a:ext cx="12192001" cy="10414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9514" y="-19665"/>
            <a:ext cx="2219874" cy="599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0003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52710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0">
              <a:srgbClr val="808080"/>
            </a:gs>
            <a:gs pos="100000">
              <a:srgbClr val="606060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712323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0">
              <a:srgbClr val="808080"/>
            </a:gs>
            <a:gs pos="100000">
              <a:srgbClr val="606060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5058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808080"/>
            </a:gs>
            <a:gs pos="100000">
              <a:srgbClr val="606060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3884277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808080"/>
            </a:gs>
            <a:gs pos="100000">
              <a:srgbClr val="606060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3592263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808080"/>
            </a:gs>
            <a:gs pos="100000">
              <a:srgbClr val="606060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1651496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808080"/>
            </a:gs>
            <a:gs pos="100000">
              <a:srgbClr val="606060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1923524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0" y="830266"/>
            <a:ext cx="9791700" cy="84613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905000"/>
            <a:ext cx="11713633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A65FE3-EFCB-4EDD-8916-09428BE0C2CC}" type="slidenum">
              <a:rPr lang="en-US" altLang="en-US" smtClean="0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883272117"/>
      </p:ext>
    </p:extLst>
  </p:cSld>
  <p:clrMapOvr>
    <a:masterClrMapping/>
  </p:clrMapOvr>
  <p:transition spd="slow">
    <p:fade/>
  </p:transition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808080"/>
            </a:gs>
            <a:gs pos="100000">
              <a:srgbClr val="606060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632809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0">
              <a:srgbClr val="808080"/>
            </a:gs>
            <a:gs pos="100000">
              <a:srgbClr val="606060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7257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808080"/>
              </a:gs>
              <a:gs pos="100000">
                <a:srgbClr val="60606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679174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0">
              <a:srgbClr val="808080"/>
            </a:gs>
            <a:gs pos="100000">
              <a:srgbClr val="606060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9208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808080"/>
              </a:gs>
              <a:gs pos="100000">
                <a:srgbClr val="60606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974192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0">
              <a:srgbClr val="808080"/>
            </a:gs>
            <a:gs pos="100000">
              <a:srgbClr val="606060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92871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808080"/>
              </a:gs>
              <a:gs pos="100000">
                <a:srgbClr val="60606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438078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0">
              <a:srgbClr val="808080"/>
            </a:gs>
            <a:gs pos="100000">
              <a:srgbClr val="606060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00280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808080"/>
              </a:gs>
              <a:gs pos="100000">
                <a:srgbClr val="60606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369865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flip="none" rotWithShape="1">
          <a:gsLst>
            <a:gs pos="0">
              <a:srgbClr val="808080"/>
            </a:gs>
            <a:gs pos="100000">
              <a:srgbClr val="606060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270558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846E44-F37D-43F9-8A38-116A556C253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724113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7A7A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3379662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606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808080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02179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 bwMode="white"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1830073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3014252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flip="none" rotWithShape="1">
          <a:gsLst>
            <a:gs pos="0">
              <a:srgbClr val="808080"/>
            </a:gs>
            <a:gs pos="100000">
              <a:srgbClr val="606060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2902310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824906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TitleAndEndImages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103" y="1993900"/>
            <a:ext cx="9725794" cy="2626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1247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103" y="1993900"/>
            <a:ext cx="9725794" cy="2626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8740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xxxx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3695993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pic>
        <p:nvPicPr>
          <p:cNvPr id="13" name="TitleAndEndImages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056"/>
          <a:stretch/>
        </p:blipFill>
        <p:spPr>
          <a:xfrm>
            <a:off x="0" y="0"/>
            <a:ext cx="12192000" cy="527685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57" t="26711" r="9200" b="21208"/>
          <a:stretch/>
        </p:blipFill>
        <p:spPr>
          <a:xfrm>
            <a:off x="9026103" y="5658416"/>
            <a:ext cx="2904565" cy="50280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0" y="830266"/>
            <a:ext cx="9791700" cy="84613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8179802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60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1524000" y="1847970"/>
            <a:ext cx="9144000" cy="1661993"/>
          </a:xfrm>
          <a:prstGeom prst="rect">
            <a:avLst/>
          </a:prstGeom>
        </p:spPr>
        <p:txBody>
          <a:bodyPr anchor="b">
            <a:spAutoFit/>
          </a:bodyPr>
          <a:lstStyle>
            <a:lvl1pPr algn="ctr">
              <a:defRPr sz="600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40626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2400">
                <a:latin typeface="+mn-lt"/>
                <a:ea typeface="+mn-ea"/>
                <a:cs typeface="+mn-cs"/>
                <a:sym typeface="+mn-lt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4177" y="6319251"/>
            <a:ext cx="12270013" cy="538749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1" t="5934" r="211" b="82200"/>
          <a:stretch/>
        </p:blipFill>
        <p:spPr>
          <a:xfrm>
            <a:off x="-25401" y="-12699"/>
            <a:ext cx="12217401" cy="104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0318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" t="5934" r="420" b="82200"/>
          <a:stretch/>
        </p:blipFill>
        <p:spPr>
          <a:xfrm>
            <a:off x="-25401" y="-12699"/>
            <a:ext cx="12192001" cy="10414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9514" y="-19665"/>
            <a:ext cx="2219874" cy="599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0698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" t="5934" r="420" b="82200"/>
          <a:stretch/>
        </p:blipFill>
        <p:spPr>
          <a:xfrm>
            <a:off x="-25401" y="-12699"/>
            <a:ext cx="12192001" cy="10414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9514" y="-19665"/>
            <a:ext cx="2219874" cy="599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340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EF4F50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390075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accent5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2819904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accent5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523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0">
              <a:srgbClr val="808080"/>
            </a:gs>
            <a:gs pos="100000">
              <a:srgbClr val="606060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112937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112937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2522366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808080"/>
            </a:gs>
            <a:gs pos="100000">
              <a:srgbClr val="606060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3482945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808080"/>
            </a:gs>
            <a:gs pos="100000">
              <a:srgbClr val="606060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3793922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808080"/>
            </a:gs>
            <a:gs pos="100000">
              <a:srgbClr val="606060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3060452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9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717" y="987428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9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9F86C686-0772-45B8-914C-D31104D043B5}" type="slidenum">
              <a:rPr lang="en-US" altLang="en-US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205624"/>
      </p:ext>
    </p:extLst>
  </p:cSld>
  <p:clrMapOvr>
    <a:masterClrMapping/>
  </p:clrMapOvr>
  <p:transition spd="slow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395895-F29C-4166-A949-0FBA29CB659F}" type="slidenum">
              <a:rPr lang="en-US" altLang="en-US" smtClean="0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037982178"/>
      </p:ext>
    </p:extLst>
  </p:cSld>
  <p:clrMapOvr>
    <a:masterClrMapping/>
  </p:clrMapOvr>
  <p:transition spd="slow">
    <p:fade/>
  </p:transition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808080"/>
            </a:gs>
            <a:gs pos="100000">
              <a:srgbClr val="606060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1930165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808080"/>
            </a:gs>
            <a:gs pos="100000">
              <a:srgbClr val="606060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3290578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808080"/>
            </a:gs>
            <a:gs pos="100000">
              <a:srgbClr val="606060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4232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808080"/>
              </a:gs>
              <a:gs pos="100000">
                <a:srgbClr val="60606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97916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rgbClr val="808080"/>
            </a:gs>
            <a:gs pos="100000">
              <a:srgbClr val="606060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7699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808080"/>
              </a:gs>
              <a:gs pos="100000">
                <a:srgbClr val="60606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589356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rgbClr val="808080"/>
            </a:gs>
            <a:gs pos="100000">
              <a:srgbClr val="606060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9809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808080"/>
              </a:gs>
              <a:gs pos="100000">
                <a:srgbClr val="60606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969027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rgbClr val="808080"/>
            </a:gs>
            <a:gs pos="100000">
              <a:srgbClr val="606060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683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808080"/>
              </a:gs>
              <a:gs pos="100000">
                <a:srgbClr val="60606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84939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3441107B-8C77-42F8-B446-35252489FA3B}" type="slidenum">
              <a:rPr lang="en-US" altLang="en-US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9097701"/>
      </p:ext>
    </p:extLst>
  </p:cSld>
  <p:clrMapOvr>
    <a:masterClrMapping/>
  </p:clrMapOvr>
  <p:transition spd="slow">
    <p:fade/>
  </p:transition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rgbClr val="808080"/>
            </a:gs>
            <a:gs pos="100000">
              <a:srgbClr val="606060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585075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7A7A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3936192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606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808080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41941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 bwMode="white"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2548375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rgbClr val="808080"/>
            </a:gs>
            <a:gs pos="100000">
              <a:srgbClr val="606060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rgbClr val="EF4F50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3909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808080"/>
            </a:gs>
            <a:gs pos="100000">
              <a:srgbClr val="606060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1640827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1571185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2413221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TitleAndEndImages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103" y="1993900"/>
            <a:ext cx="9725794" cy="2626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1621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103" y="1993900"/>
            <a:ext cx="9725794" cy="2626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4164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9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717" y="987428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9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9F86C686-0772-45B8-914C-D31104D043B5}" type="slidenum">
              <a:rPr lang="en-US" altLang="en-US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7272343"/>
      </p:ext>
    </p:extLst>
  </p:cSld>
  <p:clrMapOvr>
    <a:masterClrMapping/>
  </p:clrMapOvr>
  <p:transition spd="slow">
    <p:fade/>
  </p:transition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xxxx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3818754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rgbClr val="808080"/>
            </a:gs>
            <a:gs pos="100000">
              <a:srgbClr val="606060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Rectangle 11"/>
          <p:cNvSpPr/>
          <p:nvPr userDrawn="1">
            <p:custDataLst>
              <p:tags r:id="rId1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8"/>
            <a:ext cx="3448800" cy="122046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29987" y="1115416"/>
            <a:ext cx="2448106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570314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808080"/>
            </a:gs>
            <a:gs pos="100000">
              <a:srgbClr val="606060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2928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808080"/>
            </a:gs>
            <a:gs pos="100000">
              <a:srgbClr val="606060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6077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808080"/>
            </a:gs>
            <a:gs pos="100000">
              <a:srgbClr val="606060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70190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5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>
            <p:custDataLst>
              <p:tags r:id="rId1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5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7"/>
            <a:ext cx="3448800" cy="1220467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29987" y="1115416"/>
            <a:ext cx="2448106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65576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5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5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06140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5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4339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rgbClr val="808080"/>
            </a:gs>
            <a:gs pos="100000">
              <a:srgbClr val="606060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784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808080"/>
            </a:gs>
            <a:gs pos="100000">
              <a:srgbClr val="606060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33657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9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717" y="987428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9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31154C51-E7FE-4BE2-964D-9EA2413477DA}" type="slidenum">
              <a:rPr lang="en-US" altLang="en-US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370517"/>
      </p:ext>
    </p:extLst>
  </p:cSld>
  <p:clrMapOvr>
    <a:masterClrMapping/>
  </p:clrMapOvr>
  <p:transition spd="slow">
    <p:fade/>
  </p:transition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395895-F29C-4166-A949-0FBA29CB659F}" type="slidenum">
              <a:rPr lang="en-US" altLang="en-US" smtClean="0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542148877"/>
      </p:ext>
    </p:extLst>
  </p:cSld>
  <p:clrMapOvr>
    <a:masterClrMapping/>
  </p:clrMapOvr>
  <p:transition spd="slow">
    <p:fade/>
  </p:transition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3441107B-8C77-42F8-B446-35252489FA3B}" type="slidenum">
              <a:rPr lang="en-US" altLang="en-US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7592454"/>
      </p:ext>
    </p:extLst>
  </p:cSld>
  <p:clrMapOvr>
    <a:masterClrMapping/>
  </p:clrMapOvr>
  <p:transition spd="slow">
    <p:fade/>
  </p:transition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3441107B-8C77-42F8-B446-35252489FA3B}" type="slidenum">
              <a:rPr lang="en-US" altLang="en-US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  <p:pic>
        <p:nvPicPr>
          <p:cNvPr id="6" name="Picture 5" descr="A picture containing tool, wrench, scissors&#10;&#10;Description automatically generated">
            <a:extLst>
              <a:ext uri="{FF2B5EF4-FFF2-40B4-BE49-F238E27FC236}">
                <a16:creationId xmlns:a16="http://schemas.microsoft.com/office/drawing/2014/main" id="{5AEBCAE0-D61A-4048-BDFA-7B3F7E00BB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448910"/>
            <a:ext cx="12192000" cy="730691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24D90D5-B68D-A247-BFD6-1AD88CC526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3152" y="76200"/>
            <a:ext cx="441964" cy="44196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0FD2E64-EAEA-7047-B44F-3DC0CBDAB8C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67800" y="-171493"/>
            <a:ext cx="3471133" cy="937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450005"/>
      </p:ext>
    </p:extLst>
  </p:cSld>
  <p:clrMapOvr>
    <a:masterClrMapping/>
  </p:clrMapOvr>
  <p:transition spd="slow">
    <p:fade/>
  </p:transition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3441107B-8C77-42F8-B446-35252489FA3B}" type="slidenum">
              <a:rPr lang="en-US" altLang="en-US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471569" y="788513"/>
            <a:ext cx="9791700" cy="846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6" tIns="45718" rIns="91436" bIns="45718" numCol="1" anchor="ctr" anchorCtr="0" compatLnSpc="1">
            <a:prstTxWarp prst="textNoShape">
              <a:avLst/>
            </a:prstTxWarp>
          </a:bodyPr>
          <a:lstStyle>
            <a:lvl1pPr>
              <a:defRPr sz="2800"/>
            </a:lvl1pPr>
          </a:lstStyle>
          <a:p>
            <a:pPr lvl="0"/>
            <a:r>
              <a:rPr lang="en-US" altLang="en-US" dirty="0"/>
              <a:t>Click to edit Master 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3152" y="990600"/>
            <a:ext cx="441964" cy="44196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67800" y="742907"/>
            <a:ext cx="3471133" cy="937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1097906"/>
      </p:ext>
    </p:extLst>
  </p:cSld>
  <p:clrMapOvr>
    <a:masterClrMapping/>
  </p:clrMapOvr>
  <p:transition spd="slow">
    <p:fade/>
  </p:transition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3441107B-8C77-42F8-B446-35252489FA3B}" type="slidenum">
              <a:rPr lang="en-US" altLang="en-US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6400" y="152400"/>
            <a:ext cx="3222489" cy="870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5692583"/>
      </p:ext>
    </p:extLst>
  </p:cSld>
  <p:clrMapOvr>
    <a:masterClrMapping/>
  </p:clrMapOvr>
  <p:transition spd="slow">
    <p:fade/>
  </p:transition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9" y="457200"/>
            <a:ext cx="393276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717" y="987428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 marL="742950" indent="-285750">
              <a:buFontTx/>
              <a:buBlip>
                <a:blip r:embed="rId2"/>
              </a:buBlip>
              <a:defRPr sz="2800"/>
            </a:lvl2pPr>
            <a:lvl3pPr>
              <a:defRPr sz="2400"/>
            </a:lvl3pPr>
            <a:lvl4pPr marL="1600200" indent="-228600">
              <a:buFontTx/>
              <a:buBlip>
                <a:blip r:embed="rId2"/>
              </a:buBlip>
              <a:defRPr sz="2000"/>
            </a:lvl4pPr>
            <a:lvl5pPr marL="2057400" indent="-228600">
              <a:buFontTx/>
              <a:buBlip>
                <a:blip r:embed="rId2"/>
              </a:buBlip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9" y="2057400"/>
            <a:ext cx="393276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9F86C686-0772-45B8-914C-D31104D043B5}" type="slidenum">
              <a:rPr lang="en-US" altLang="en-US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3264307"/>
      </p:ext>
    </p:extLst>
  </p:cSld>
  <p:clrMapOvr>
    <a:masterClrMapping/>
  </p:clrMapOvr>
  <p:transition spd="slow">
    <p:fade/>
  </p:transition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9" y="457200"/>
            <a:ext cx="393276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717" y="987428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9" y="2057400"/>
            <a:ext cx="393276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31154C51-E7FE-4BE2-964D-9EA2413477DA}" type="slidenum">
              <a:rPr lang="en-US" altLang="en-US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9166741"/>
      </p:ext>
    </p:extLst>
  </p:cSld>
  <p:clrMapOvr>
    <a:masterClrMapping/>
  </p:clrMapOvr>
  <p:transition spd="slow">
    <p:fade/>
  </p:transition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0" y="830266"/>
            <a:ext cx="9791700" cy="84613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14400" y="1905000"/>
            <a:ext cx="11713633" cy="50292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832DC5D3-AD41-4659-866A-5CB0CB3446CC}" type="slidenum">
              <a:rPr lang="en-US" altLang="en-US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8484779"/>
      </p:ext>
    </p:extLst>
  </p:cSld>
  <p:clrMapOvr>
    <a:masterClrMapping/>
  </p:clrMapOvr>
  <p:transition spd="slow">
    <p:fade/>
  </p:transition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78900" y="68266"/>
            <a:ext cx="2937933" cy="6103937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65100" y="68266"/>
            <a:ext cx="8610600" cy="6103937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58A21856-27AF-4D70-8135-22471679316B}" type="slidenum">
              <a:rPr lang="en-US" altLang="en-US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9830008"/>
      </p:ext>
    </p:extLst>
  </p:cSld>
  <p:clrMapOvr>
    <a:masterClrMapping/>
  </p:clrMapOvr>
  <p:transition spd="slow">
    <p:fade/>
  </p:transition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0" y="830266"/>
            <a:ext cx="9791700" cy="84613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B95E0E-41D0-4AD1-8CD3-546D4999BB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152694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832DC5D3-AD41-4659-866A-5CB0CB3446CC}" type="slidenum">
              <a:rPr lang="en-US" altLang="en-US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0631087"/>
      </p:ext>
    </p:extLst>
  </p:cSld>
  <p:clrMapOvr>
    <a:masterClrMapping/>
  </p:clrMapOvr>
  <p:transition spd="slow">
    <p:fade/>
  </p:transition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0" y="830266"/>
            <a:ext cx="9791700" cy="84613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905000"/>
            <a:ext cx="11713633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A65FE3-EFCB-4EDD-8916-09428BE0C2CC}" type="slidenum">
              <a:rPr lang="en-US" altLang="en-US" smtClean="0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257976845"/>
      </p:ext>
    </p:extLst>
  </p:cSld>
  <p:clrMapOvr>
    <a:masterClrMapping/>
  </p:clrMapOvr>
  <p:transition spd="slow">
    <p:fade/>
  </p:transition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846E44-F37D-43F9-8A38-116A556C253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0307518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0" y="830266"/>
            <a:ext cx="9791700" cy="84613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2077592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91883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pic>
        <p:nvPicPr>
          <p:cNvPr id="16" name="TitleAndEndImages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056"/>
          <a:stretch/>
        </p:blipFill>
        <p:spPr>
          <a:xfrm>
            <a:off x="0" y="0"/>
            <a:ext cx="12192000" cy="527685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57" t="26711" r="9200" b="21208"/>
          <a:stretch/>
        </p:blipFill>
        <p:spPr>
          <a:xfrm>
            <a:off x="9026103" y="5658416"/>
            <a:ext cx="2904565" cy="502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0915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25087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60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ctrTitle"/>
          </p:nvPr>
        </p:nvSpPr>
        <p:spPr>
          <a:xfrm>
            <a:off x="1524000" y="1847970"/>
            <a:ext cx="9144000" cy="1661993"/>
          </a:xfrm>
          <a:prstGeom prst="rect">
            <a:avLst/>
          </a:prstGeom>
        </p:spPr>
        <p:txBody>
          <a:bodyPr anchor="b">
            <a:spAutoFit/>
          </a:bodyPr>
          <a:lstStyle>
            <a:lvl1pPr algn="ctr">
              <a:defRPr sz="600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40626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2400">
                <a:latin typeface="+mn-lt"/>
                <a:ea typeface="+mn-ea"/>
                <a:cs typeface="+mn-cs"/>
                <a:sym typeface="+mn-lt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4177" y="6319251"/>
            <a:ext cx="12270013" cy="538749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1" t="5934" r="211" b="82200"/>
          <a:stretch/>
        </p:blipFill>
        <p:spPr>
          <a:xfrm>
            <a:off x="-25401" y="-12699"/>
            <a:ext cx="12217401" cy="104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5160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7652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" t="5934" r="420" b="82200"/>
          <a:stretch/>
        </p:blipFill>
        <p:spPr>
          <a:xfrm>
            <a:off x="-25401" y="-12699"/>
            <a:ext cx="12192001" cy="1041400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9514" y="-19665"/>
            <a:ext cx="2219874" cy="599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954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1943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</p:spPr>
        <p:txBody>
          <a:bodyPr/>
          <a:lstStyle>
            <a:lvl1pPr>
              <a:defRPr sz="340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" t="5934" r="420" b="82200"/>
          <a:stretch/>
        </p:blipFill>
        <p:spPr>
          <a:xfrm>
            <a:off x="-25401" y="-12699"/>
            <a:ext cx="12192001" cy="10414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9514" y="-19665"/>
            <a:ext cx="2219874" cy="599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3807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1234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26685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1091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3658070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70451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2971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78900" y="68266"/>
            <a:ext cx="2937933" cy="610393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65100" y="68266"/>
            <a:ext cx="8610600" cy="6103937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58A21856-27AF-4D70-8135-22471679316B}" type="slidenum">
              <a:rPr lang="en-US" altLang="en-US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6802179"/>
      </p:ext>
    </p:extLst>
  </p:cSld>
  <p:clrMapOvr>
    <a:masterClrMapping/>
  </p:clrMapOvr>
  <p:transition spd="slow">
    <p:fade/>
  </p:transition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9322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699802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7870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3285424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0844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3294162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09121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1235082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0465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1476828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58015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172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60330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808080"/>
              </a:gs>
              <a:gs pos="100000">
                <a:srgbClr val="60606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643176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23086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9835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8474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808080"/>
              </a:gs>
              <a:gs pos="100000">
                <a:srgbClr val="60606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997495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77171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61573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395895-F29C-4166-A949-0FBA29CB659F}" type="slidenum">
              <a:rPr lang="en-US" altLang="en-US" smtClean="0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076759981"/>
      </p:ext>
    </p:extLst>
  </p:cSld>
  <p:clrMapOvr>
    <a:masterClrMapping/>
  </p:clrMapOvr>
  <p:transition spd="slow">
    <p:fade/>
  </p:transition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64795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808080"/>
              </a:gs>
              <a:gs pos="100000">
                <a:srgbClr val="60606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965820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00881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98720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6159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808080"/>
              </a:gs>
              <a:gs pos="100000">
                <a:srgbClr val="60606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357431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3792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213280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81900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7A7A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2861067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27036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808080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347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1644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 bwMode="white"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74647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5083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3414985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4898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3497013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03002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1787021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3441107B-8C77-42F8-B446-35252489FA3B}" type="slidenum">
              <a:rPr lang="en-US" altLang="en-US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2175232"/>
      </p:ext>
    </p:extLst>
  </p:cSld>
  <p:clrMapOvr>
    <a:masterClrMapping/>
  </p:clrMapOvr>
  <p:transition spd="slow">
    <p:fade/>
  </p:transition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00695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TitleAndEndImages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103" y="1993900"/>
            <a:ext cx="9725794" cy="2626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6189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32724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103" y="1993900"/>
            <a:ext cx="9725794" cy="2626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6762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012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xxxx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3626456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7506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pic>
        <p:nvPicPr>
          <p:cNvPr id="13" name="TitleAndEndImages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056"/>
          <a:stretch/>
        </p:blipFill>
        <p:spPr>
          <a:xfrm>
            <a:off x="0" y="0"/>
            <a:ext cx="12192000" cy="527685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57" t="26711" r="9200" b="21208"/>
          <a:stretch/>
        </p:blipFill>
        <p:spPr>
          <a:xfrm>
            <a:off x="9026103" y="5658416"/>
            <a:ext cx="2904565" cy="502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6636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0940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60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1524000" y="1847970"/>
            <a:ext cx="9144000" cy="1661993"/>
          </a:xfrm>
          <a:prstGeom prst="rect">
            <a:avLst/>
          </a:prstGeom>
        </p:spPr>
        <p:txBody>
          <a:bodyPr anchor="b">
            <a:spAutoFit/>
          </a:bodyPr>
          <a:lstStyle>
            <a:lvl1pPr algn="ctr">
              <a:defRPr sz="600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40626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2400">
                <a:latin typeface="+mn-lt"/>
                <a:ea typeface="+mn-ea"/>
                <a:cs typeface="+mn-cs"/>
                <a:sym typeface="+mn-lt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4177" y="6319251"/>
            <a:ext cx="12270013" cy="538749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1" t="5934" r="211" b="82200"/>
          <a:stretch/>
        </p:blipFill>
        <p:spPr>
          <a:xfrm>
            <a:off x="-25401" y="-12699"/>
            <a:ext cx="12217401" cy="104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6103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1386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" t="5934" r="420" b="82200"/>
          <a:stretch/>
        </p:blipFill>
        <p:spPr>
          <a:xfrm>
            <a:off x="-25401" y="-12699"/>
            <a:ext cx="12192001" cy="10414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9514" y="-19665"/>
            <a:ext cx="2219874" cy="599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3923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7222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" t="5934" r="420" b="82200"/>
          <a:stretch/>
        </p:blipFill>
        <p:spPr>
          <a:xfrm>
            <a:off x="-25401" y="-12699"/>
            <a:ext cx="12192001" cy="10414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9514" y="-19665"/>
            <a:ext cx="2219874" cy="599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850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21333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EF4F50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1267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0398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accent5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2208012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ection header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11038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accent5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2923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9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717" y="987428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9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9F86C686-0772-45B8-914C-D31104D043B5}" type="slidenum">
              <a:rPr lang="en-US" altLang="en-US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2869121"/>
      </p:ext>
    </p:extLst>
  </p:cSld>
  <p:clrMapOvr>
    <a:masterClrMapping/>
  </p:clrMapOvr>
  <p:transition spd="slow">
    <p:fade/>
  </p:transition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06798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112937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112937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1910326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9317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889412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1990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662459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67282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2774034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924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2047270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5439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2033116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80625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3118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9726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808080"/>
              </a:gs>
              <a:gs pos="100000">
                <a:srgbClr val="60606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593456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4002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95092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0025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808080"/>
              </a:gs>
              <a:gs pos="100000">
                <a:srgbClr val="60606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808908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9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717" y="987428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9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31154C51-E7FE-4BE2-964D-9EA2413477DA}" type="slidenum">
              <a:rPr lang="en-US" altLang="en-US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4910401"/>
      </p:ext>
    </p:extLst>
  </p:cSld>
  <p:clrMapOvr>
    <a:masterClrMapping/>
  </p:clrMapOvr>
  <p:transition spd="slow">
    <p:fade/>
  </p:transition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0160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5064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80420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808080"/>
              </a:gs>
              <a:gs pos="100000">
                <a:srgbClr val="60606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82762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6127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9400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2209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808080"/>
              </a:gs>
              <a:gs pos="100000">
                <a:srgbClr val="60606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201524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304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2256214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02605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7A7A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2420072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78674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808080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53342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21356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 bwMode="white"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205415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6460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rgbClr val="EF4F50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58072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7277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996501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9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717" y="987428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9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31154C51-E7FE-4BE2-964D-9EA2413477DA}" type="slidenum">
              <a:rPr lang="en-US" altLang="en-US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0539187"/>
      </p:ext>
    </p:extLst>
  </p:cSld>
  <p:clrMapOvr>
    <a:masterClrMapping/>
  </p:clrMapOvr>
  <p:transition spd="slow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832DC5D3-AD41-4659-866A-5CB0CB3446CC}" type="slidenum">
              <a:rPr lang="en-US" altLang="en-US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2129416"/>
      </p:ext>
    </p:extLst>
  </p:cSld>
  <p:clrMapOvr>
    <a:masterClrMapping/>
  </p:clrMapOvr>
  <p:transition spd="slow">
    <p:fade/>
  </p:transition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6028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3475157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3871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4149056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58834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TitleAndEndImages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103" y="1993900"/>
            <a:ext cx="9725794" cy="2626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973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69375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103" y="1993900"/>
            <a:ext cx="9725794" cy="2626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9908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0932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xxxx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935923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13699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8"/>
            <a:ext cx="3448800" cy="122046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29987" y="1115416"/>
            <a:ext cx="2448106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943922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84928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28845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83152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4604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57175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94746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39220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5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5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7"/>
            <a:ext cx="3448800" cy="1220467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29987" y="1115416"/>
            <a:ext cx="2448106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039745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78900" y="68266"/>
            <a:ext cx="2937933" cy="610393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65100" y="68266"/>
            <a:ext cx="8610600" cy="6103937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58A21856-27AF-4D70-8135-22471679316B}" type="slidenum">
              <a:rPr lang="en-US" altLang="en-US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496549"/>
      </p:ext>
    </p:extLst>
  </p:cSld>
  <p:clrMapOvr>
    <a:masterClrMapping/>
  </p:clrMapOvr>
  <p:transition spd="slow">
    <p:fade/>
  </p:transition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3364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5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5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168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79856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5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62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88562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185444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32596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8097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9CD871-B7E8-4271-2056-149415F4C8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2D00884-9C9B-230C-AF21-655C4ACDF84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A8D22A-F25D-23C7-B0A3-3C7DC4A26F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3B4152-C655-5530-2DA3-E57771EE01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E597D3-CABA-CDC0-5F7E-A433D5D12B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DF90A2-1D93-B646-9A77-C9EC2A79B73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8456518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A52B46-A6CA-A482-79B2-AC4F73020E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14D9A4-59CB-2229-F42D-A39EC1B42C1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459B6C4-E56E-FF92-07DB-8B3C2C63AA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B29993-2799-19A6-9989-C95321C431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35B3F0-72E7-ACF0-CC27-3043692418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DF90A2-1D93-B646-9A77-C9EC2A79B73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6135045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31B4B2-6384-F24A-0B6C-6E19BCBDEB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76E15EA-B285-2151-A279-9ADBE1513D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3CCB02-7C1E-6E50-E88D-D26DB7E9D0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C266312-5A4F-8AAB-E8EB-6E4CB4541D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852DAF-7E83-8E4B-59C3-3C72F094B2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DF90A2-1D93-B646-9A77-C9EC2A79B73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8539378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C46DA3-9A80-3DD7-2943-DDB6350C05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C3D646-DB7D-A6B0-C9EC-A6B25818470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0D7244F-A120-2DCB-07F8-B36BB092379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6A3FECC-BE5C-C643-5CD0-A706AC5D6A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E242358-028E-2F59-80A8-6E23F0CB0C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29A1AA6-2BC8-53F9-BCFB-B80C25813B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DF90A2-1D93-B646-9A77-C9EC2A79B73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8981381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D31034-E258-30C8-601D-94F76E2ED8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F53BF7-ECDA-DE39-E823-20F2DF2FA2A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25F864C-BBC6-28A6-9A5F-18B1557B130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4514D60-BA0E-03A9-69CD-C5BEBFC21EA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89425F6-AF5C-BC7A-91A4-FDD2596AED3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DAEC802-DC34-0718-4C2A-E47F65014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ABBD0B5-767B-887F-C27D-032095DD0C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70296D6-B694-ACC4-84CC-191ED8ED85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DF90A2-1D93-B646-9A77-C9EC2A79B73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2867579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3113D5-E472-B973-BA7E-A010E6352F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63DC0FA-10EC-FAA7-8C29-2B75D4B1DF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EF9BE16-4C71-8B75-3017-4D26AD5140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9F87084-72CD-8FAB-E54F-ED4609F087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DF90A2-1D93-B646-9A77-C9EC2A79B73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901284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A65FE3-EFCB-4EDD-8916-09428BE0C2CC}" type="slidenum">
              <a:rPr lang="en-US" altLang="en-US" smtClean="0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23136274"/>
      </p:ext>
    </p:extLst>
  </p:cSld>
  <p:clrMapOvr>
    <a:masterClrMapping/>
  </p:clrMapOvr>
  <p:transition spd="slow">
    <p:fade/>
  </p:transition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F8F9F21-6306-3658-02EF-0433D197D6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7E6C324-98D3-8185-82F2-33383CF8EE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7287F8-758F-DB87-DBFC-1859E066CE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DF90A2-1D93-B646-9A77-C9EC2A79B73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6418087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FF4BEA-23A1-F90B-3CD9-81321344DE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97ADEF-AE2D-9233-8D1D-A24803A412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A68A3BD-9C33-64BF-A50F-1D2B4EA883E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912C7B8-3EBA-249F-59CC-FD3764315B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7FD96AF-3B1C-F956-E945-545F8CE6BE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358CCF-53D6-CB09-0A58-FDD33A0C8F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DF90A2-1D93-B646-9A77-C9EC2A79B73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3351616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F547DF-8293-27F4-2B6A-1831A0AC27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3B36485-D1E5-13FA-510F-7E901ED2B78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FBC0A4E-E135-9A53-2D51-687F8EB465F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63630C9-F2C1-8BF4-891D-2E9506BD10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046D3CB-C589-F945-0447-916F172E5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D38E58F-F995-5954-AB63-405948B7AA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DF90A2-1D93-B646-9A77-C9EC2A79B73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9332151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02EB5A-9C82-CCED-3E07-509ADD5536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F69DFF7-4142-022D-1B78-FAB3044F8FA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38B3CE0-D7AD-C9C8-121A-A634D2D8F9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92C45CC-057B-9B82-4320-99C08BB612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18117A-6DF0-412B-5838-18B6D4E47C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DF90A2-1D93-B646-9A77-C9EC2A79B73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2889378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400CC06-E269-9328-53E0-14135AB3DB2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9A46F99-6876-19A9-6BEF-9A6F86BFB5F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DF85A-3B2A-CCA8-F2FF-84FAC9EE41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E20A35-71F6-E592-F3E1-9708F11025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DF79FF-260B-775D-2008-D9D1BE8B17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DF90A2-1D93-B646-9A77-C9EC2A79B73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2935221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1C641-6D05-EFE8-C4DE-6BA636B74F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36525"/>
            <a:ext cx="8127334" cy="735986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FFD6356-2A8C-4902-AE71-8DE02F771F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60772C-E848-BE93-DA21-662B4412BF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A39F1E7-D8F3-8FDA-B0C7-630154124C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64922"/>
            <a:ext cx="2743200" cy="365125"/>
          </a:xfrm>
        </p:spPr>
        <p:txBody>
          <a:bodyPr/>
          <a:lstStyle/>
          <a:p>
            <a:fld id="{07CA632F-5E93-4368-A80F-6600763775E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ED1E186-43C3-CB05-5FA8-606F3A140DD9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Copyright" hidden="1">
            <a:extLst>
              <a:ext uri="{FF2B5EF4-FFF2-40B4-BE49-F238E27FC236}">
                <a16:creationId xmlns:a16="http://schemas.microsoft.com/office/drawing/2014/main" id="{BB81AD9D-FCDD-7B4A-9033-1F55D0F6015C}"/>
              </a:ext>
            </a:extLst>
          </p:cNvPr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9" name="FooterSimple" hidden="1">
            <a:extLst>
              <a:ext uri="{FF2B5EF4-FFF2-40B4-BE49-F238E27FC236}">
                <a16:creationId xmlns:a16="http://schemas.microsoft.com/office/drawing/2014/main" id="{859FE357-DD08-2959-A162-93A3A7B85BB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B120F4B-34C0-1F45-9837-BB94FABC872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65534" y="-19665"/>
            <a:ext cx="3303854" cy="892176"/>
          </a:xfrm>
          <a:prstGeom prst="rect">
            <a:avLst/>
          </a:prstGeom>
        </p:spPr>
      </p:pic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632BAAAA-D6B8-1B1D-FB70-20DCE695F0D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1143000"/>
            <a:ext cx="10514012" cy="50466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AC30085-3378-F2A6-C6C5-14777F342F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" t="5934" r="420" b="82200"/>
          <a:stretch/>
        </p:blipFill>
        <p:spPr>
          <a:xfrm flipV="1">
            <a:off x="0" y="5816600"/>
            <a:ext cx="12192001" cy="104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3967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846E44-F37D-43F9-8A38-116A556C253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141997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64661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" t="5934" r="420" b="82200"/>
          <a:stretch/>
        </p:blipFill>
        <p:spPr>
          <a:xfrm>
            <a:off x="-25401" y="-12699"/>
            <a:ext cx="12192001" cy="1041400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9514" y="-19665"/>
            <a:ext cx="2219874" cy="599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4322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pic>
        <p:nvPicPr>
          <p:cNvPr id="16" name="TitleAndEndImages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056"/>
          <a:stretch/>
        </p:blipFill>
        <p:spPr>
          <a:xfrm>
            <a:off x="0" y="0"/>
            <a:ext cx="12192000" cy="527685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57" t="26711" r="9200" b="21208"/>
          <a:stretch/>
        </p:blipFill>
        <p:spPr>
          <a:xfrm>
            <a:off x="9026103" y="5658416"/>
            <a:ext cx="2904565" cy="502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3572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60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ctrTitle"/>
          </p:nvPr>
        </p:nvSpPr>
        <p:spPr>
          <a:xfrm>
            <a:off x="1524000" y="1847970"/>
            <a:ext cx="9144000" cy="1661993"/>
          </a:xfrm>
          <a:prstGeom prst="rect">
            <a:avLst/>
          </a:prstGeom>
        </p:spPr>
        <p:txBody>
          <a:bodyPr anchor="b">
            <a:spAutoFit/>
          </a:bodyPr>
          <a:lstStyle>
            <a:lvl1pPr algn="ctr">
              <a:defRPr sz="600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40626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2400">
                <a:latin typeface="+mn-lt"/>
                <a:ea typeface="+mn-ea"/>
                <a:cs typeface="+mn-cs"/>
                <a:sym typeface="+mn-lt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4177" y="6319251"/>
            <a:ext cx="12270013" cy="538749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1" t="5934" r="211" b="82200"/>
          <a:stretch/>
        </p:blipFill>
        <p:spPr>
          <a:xfrm>
            <a:off x="-25401" y="-12699"/>
            <a:ext cx="12217401" cy="104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7794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" t="5934" r="420" b="82200"/>
          <a:stretch/>
        </p:blipFill>
        <p:spPr>
          <a:xfrm>
            <a:off x="-25401" y="-12699"/>
            <a:ext cx="12192001" cy="1041400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9514" y="-19665"/>
            <a:ext cx="2219874" cy="599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4288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</p:spPr>
        <p:txBody>
          <a:bodyPr/>
          <a:lstStyle>
            <a:lvl1pPr>
              <a:defRPr sz="340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" t="5934" r="420" b="82200"/>
          <a:stretch/>
        </p:blipFill>
        <p:spPr>
          <a:xfrm>
            <a:off x="-25401" y="-12699"/>
            <a:ext cx="12192001" cy="10414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9514" y="-19665"/>
            <a:ext cx="2219874" cy="599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6586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832DC5D3-AD41-4659-866A-5CB0CB3446CC}" type="slidenum">
              <a:rPr lang="en-US" altLang="en-US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5291327"/>
      </p:ext>
    </p:extLst>
  </p:cSld>
  <p:clrMapOvr>
    <a:masterClrMapping/>
  </p:clrMapOvr>
  <p:transition spd="slow"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95961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2931299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46332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1917045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3163900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733529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2293428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4258154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27613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808080"/>
              </a:gs>
              <a:gs pos="100000">
                <a:srgbClr val="60606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190034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78900" y="68266"/>
            <a:ext cx="2937933" cy="610393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65100" y="68266"/>
            <a:ext cx="8610600" cy="6103937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58A21856-27AF-4D70-8135-22471679316B}" type="slidenum">
              <a:rPr lang="en-US" altLang="en-US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9171314"/>
      </p:ext>
    </p:extLst>
  </p:cSld>
  <p:clrMapOvr>
    <a:masterClrMapping/>
  </p:clrMapOvr>
  <p:transition spd="slow"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06384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808080"/>
              </a:gs>
              <a:gs pos="100000">
                <a:srgbClr val="60606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483850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93859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808080"/>
              </a:gs>
              <a:gs pos="100000">
                <a:srgbClr val="60606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886725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3987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808080"/>
              </a:gs>
              <a:gs pos="100000">
                <a:srgbClr val="60606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728609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2366384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7A7A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3928025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808080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39585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 bwMode="white"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3169856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395895-F29C-4166-A949-0FBA29CB659F}" type="slidenum">
              <a:rPr lang="en-US" altLang="en-US" smtClean="0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979611925"/>
      </p:ext>
    </p:extLst>
  </p:cSld>
  <p:clrMapOvr>
    <a:masterClrMapping/>
  </p:clrMapOvr>
  <p:transition spd="slow"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1968383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3248676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3159671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TitleAndEndImages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103" y="1993900"/>
            <a:ext cx="9725794" cy="2626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7992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103" y="1993900"/>
            <a:ext cx="9725794" cy="2626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9969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xxxx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3388860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pic>
        <p:nvPicPr>
          <p:cNvPr id="13" name="TitleAndEndImages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056"/>
          <a:stretch/>
        </p:blipFill>
        <p:spPr>
          <a:xfrm>
            <a:off x="0" y="0"/>
            <a:ext cx="12192000" cy="527685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57" t="26711" r="9200" b="21208"/>
          <a:stretch/>
        </p:blipFill>
        <p:spPr>
          <a:xfrm>
            <a:off x="9026103" y="5658416"/>
            <a:ext cx="2904565" cy="502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5384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60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1524000" y="1847970"/>
            <a:ext cx="9144000" cy="1661993"/>
          </a:xfrm>
          <a:prstGeom prst="rect">
            <a:avLst/>
          </a:prstGeom>
        </p:spPr>
        <p:txBody>
          <a:bodyPr anchor="b">
            <a:spAutoFit/>
          </a:bodyPr>
          <a:lstStyle>
            <a:lvl1pPr algn="ctr">
              <a:defRPr sz="600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40626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2400">
                <a:latin typeface="+mn-lt"/>
                <a:ea typeface="+mn-ea"/>
                <a:cs typeface="+mn-cs"/>
                <a:sym typeface="+mn-lt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4177" y="6319251"/>
            <a:ext cx="12270013" cy="538749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1" t="5934" r="211" b="82200"/>
          <a:stretch/>
        </p:blipFill>
        <p:spPr>
          <a:xfrm>
            <a:off x="-25401" y="-12699"/>
            <a:ext cx="12217401" cy="104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9109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" t="5934" r="420" b="82200"/>
          <a:stretch/>
        </p:blipFill>
        <p:spPr>
          <a:xfrm>
            <a:off x="-25401" y="-12699"/>
            <a:ext cx="12192001" cy="10414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9514" y="-19665"/>
            <a:ext cx="2219874" cy="599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3641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" t="5934" r="420" b="82200"/>
          <a:stretch/>
        </p:blipFill>
        <p:spPr>
          <a:xfrm>
            <a:off x="-25401" y="-12699"/>
            <a:ext cx="12192001" cy="10414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9514" y="-19665"/>
            <a:ext cx="2219874" cy="599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2235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3441107B-8C77-42F8-B446-35252489FA3B}" type="slidenum">
              <a:rPr lang="en-US" altLang="en-US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9614194"/>
      </p:ext>
    </p:extLst>
  </p:cSld>
  <p:clrMapOvr>
    <a:masterClrMapping/>
  </p:clrMapOvr>
  <p:transition spd="slow"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EF4F50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2918388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accent5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3327973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ection header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accent5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0824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112937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112937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2912530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3411060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893054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2686071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2836575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1589628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98513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3441107B-8C77-42F8-B446-35252489FA3B}" type="slidenum">
              <a:rPr lang="en-US" altLang="en-US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471569" y="788513"/>
            <a:ext cx="9791700" cy="846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6" tIns="45718" rIns="91436" bIns="45718" numCol="1" anchor="ctr" anchorCtr="0" compatLnSpc="1">
            <a:prstTxWarp prst="textNoShape">
              <a:avLst/>
            </a:prstTxWarp>
          </a:bodyPr>
          <a:lstStyle>
            <a:lvl1pPr>
              <a:defRPr sz="2800"/>
            </a:lvl1pPr>
          </a:lstStyle>
          <a:p>
            <a:pPr lvl="0"/>
            <a:r>
              <a:rPr lang="en-US" altLang="en-US" dirty="0"/>
              <a:t>Click to edit Master 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3152" y="990600"/>
            <a:ext cx="441964" cy="44196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67800" y="742907"/>
            <a:ext cx="3471133" cy="937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5731979"/>
      </p:ext>
    </p:extLst>
  </p:cSld>
  <p:clrMapOvr>
    <a:masterClrMapping/>
  </p:clrMapOvr>
  <p:transition spd="slow"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808080"/>
              </a:gs>
              <a:gs pos="100000">
                <a:srgbClr val="60606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195488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9607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808080"/>
              </a:gs>
              <a:gs pos="100000">
                <a:srgbClr val="60606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945177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12741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808080"/>
              </a:gs>
              <a:gs pos="100000">
                <a:srgbClr val="60606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808491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EF4F5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05613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808080"/>
              </a:gs>
              <a:gs pos="100000">
                <a:srgbClr val="60606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826065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3075968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F7A7A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UAEU Updated strategic plan - vF - Open Source.pptx</a:t>
            </a:r>
          </a:p>
        </p:txBody>
      </p:sp>
    </p:spTree>
    <p:extLst>
      <p:ext uri="{BB962C8B-B14F-4D97-AF65-F5344CB8AC3E}">
        <p14:creationId xmlns:p14="http://schemas.microsoft.com/office/powerpoint/2010/main" val="3664761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5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808080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35884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7.xml"/><Relationship Id="rId13" Type="http://schemas.openxmlformats.org/officeDocument/2006/relationships/slideLayout" Target="../slideLayouts/slideLayout342.xml"/><Relationship Id="rId3" Type="http://schemas.openxmlformats.org/officeDocument/2006/relationships/slideLayout" Target="../slideLayouts/slideLayout332.xml"/><Relationship Id="rId7" Type="http://schemas.openxmlformats.org/officeDocument/2006/relationships/slideLayout" Target="../slideLayouts/slideLayout336.xml"/><Relationship Id="rId12" Type="http://schemas.openxmlformats.org/officeDocument/2006/relationships/slideLayout" Target="../slideLayouts/slideLayout341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331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330.xml"/><Relationship Id="rId6" Type="http://schemas.openxmlformats.org/officeDocument/2006/relationships/slideLayout" Target="../slideLayouts/slideLayout335.xml"/><Relationship Id="rId11" Type="http://schemas.openxmlformats.org/officeDocument/2006/relationships/slideLayout" Target="../slideLayouts/slideLayout340.xml"/><Relationship Id="rId5" Type="http://schemas.openxmlformats.org/officeDocument/2006/relationships/slideLayout" Target="../slideLayouts/slideLayout334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339.xml"/><Relationship Id="rId4" Type="http://schemas.openxmlformats.org/officeDocument/2006/relationships/slideLayout" Target="../slideLayouts/slideLayout333.xml"/><Relationship Id="rId9" Type="http://schemas.openxmlformats.org/officeDocument/2006/relationships/slideLayout" Target="../slideLayouts/slideLayout338.xml"/><Relationship Id="rId14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68.xml"/><Relationship Id="rId21" Type="http://schemas.openxmlformats.org/officeDocument/2006/relationships/slideLayout" Target="../slideLayouts/slideLayout363.xml"/><Relationship Id="rId42" Type="http://schemas.openxmlformats.org/officeDocument/2006/relationships/slideLayout" Target="../slideLayouts/slideLayout384.xml"/><Relationship Id="rId47" Type="http://schemas.openxmlformats.org/officeDocument/2006/relationships/slideLayout" Target="../slideLayouts/slideLayout389.xml"/><Relationship Id="rId63" Type="http://schemas.openxmlformats.org/officeDocument/2006/relationships/slideLayout" Target="../slideLayouts/slideLayout405.xml"/><Relationship Id="rId68" Type="http://schemas.openxmlformats.org/officeDocument/2006/relationships/slideLayout" Target="../slideLayouts/slideLayout410.xml"/><Relationship Id="rId2" Type="http://schemas.openxmlformats.org/officeDocument/2006/relationships/slideLayout" Target="../slideLayouts/slideLayout344.xml"/><Relationship Id="rId16" Type="http://schemas.openxmlformats.org/officeDocument/2006/relationships/slideLayout" Target="../slideLayouts/slideLayout358.xml"/><Relationship Id="rId29" Type="http://schemas.openxmlformats.org/officeDocument/2006/relationships/slideLayout" Target="../slideLayouts/slideLayout371.xml"/><Relationship Id="rId11" Type="http://schemas.openxmlformats.org/officeDocument/2006/relationships/slideLayout" Target="../slideLayouts/slideLayout353.xml"/><Relationship Id="rId24" Type="http://schemas.openxmlformats.org/officeDocument/2006/relationships/slideLayout" Target="../slideLayouts/slideLayout366.xml"/><Relationship Id="rId32" Type="http://schemas.openxmlformats.org/officeDocument/2006/relationships/slideLayout" Target="../slideLayouts/slideLayout374.xml"/><Relationship Id="rId37" Type="http://schemas.openxmlformats.org/officeDocument/2006/relationships/slideLayout" Target="../slideLayouts/slideLayout379.xml"/><Relationship Id="rId40" Type="http://schemas.openxmlformats.org/officeDocument/2006/relationships/slideLayout" Target="../slideLayouts/slideLayout382.xml"/><Relationship Id="rId45" Type="http://schemas.openxmlformats.org/officeDocument/2006/relationships/slideLayout" Target="../slideLayouts/slideLayout387.xml"/><Relationship Id="rId53" Type="http://schemas.openxmlformats.org/officeDocument/2006/relationships/slideLayout" Target="../slideLayouts/slideLayout395.xml"/><Relationship Id="rId58" Type="http://schemas.openxmlformats.org/officeDocument/2006/relationships/slideLayout" Target="../slideLayouts/slideLayout400.xml"/><Relationship Id="rId66" Type="http://schemas.openxmlformats.org/officeDocument/2006/relationships/slideLayout" Target="../slideLayouts/slideLayout408.xml"/><Relationship Id="rId74" Type="http://schemas.openxmlformats.org/officeDocument/2006/relationships/tags" Target="../tags/tag422.xml"/><Relationship Id="rId5" Type="http://schemas.openxmlformats.org/officeDocument/2006/relationships/slideLayout" Target="../slideLayouts/slideLayout347.xml"/><Relationship Id="rId61" Type="http://schemas.openxmlformats.org/officeDocument/2006/relationships/slideLayout" Target="../slideLayouts/slideLayout403.xml"/><Relationship Id="rId19" Type="http://schemas.openxmlformats.org/officeDocument/2006/relationships/slideLayout" Target="../slideLayouts/slideLayout361.xml"/><Relationship Id="rId14" Type="http://schemas.openxmlformats.org/officeDocument/2006/relationships/slideLayout" Target="../slideLayouts/slideLayout356.xml"/><Relationship Id="rId22" Type="http://schemas.openxmlformats.org/officeDocument/2006/relationships/slideLayout" Target="../slideLayouts/slideLayout364.xml"/><Relationship Id="rId27" Type="http://schemas.openxmlformats.org/officeDocument/2006/relationships/slideLayout" Target="../slideLayouts/slideLayout369.xml"/><Relationship Id="rId30" Type="http://schemas.openxmlformats.org/officeDocument/2006/relationships/slideLayout" Target="../slideLayouts/slideLayout372.xml"/><Relationship Id="rId35" Type="http://schemas.openxmlformats.org/officeDocument/2006/relationships/slideLayout" Target="../slideLayouts/slideLayout377.xml"/><Relationship Id="rId43" Type="http://schemas.openxmlformats.org/officeDocument/2006/relationships/slideLayout" Target="../slideLayouts/slideLayout385.xml"/><Relationship Id="rId48" Type="http://schemas.openxmlformats.org/officeDocument/2006/relationships/slideLayout" Target="../slideLayouts/slideLayout390.xml"/><Relationship Id="rId56" Type="http://schemas.openxmlformats.org/officeDocument/2006/relationships/slideLayout" Target="../slideLayouts/slideLayout398.xml"/><Relationship Id="rId64" Type="http://schemas.openxmlformats.org/officeDocument/2006/relationships/slideLayout" Target="../slideLayouts/slideLayout406.xml"/><Relationship Id="rId69" Type="http://schemas.openxmlformats.org/officeDocument/2006/relationships/slideLayout" Target="../slideLayouts/slideLayout411.xml"/><Relationship Id="rId8" Type="http://schemas.openxmlformats.org/officeDocument/2006/relationships/slideLayout" Target="../slideLayouts/slideLayout350.xml"/><Relationship Id="rId51" Type="http://schemas.openxmlformats.org/officeDocument/2006/relationships/slideLayout" Target="../slideLayouts/slideLayout393.xml"/><Relationship Id="rId72" Type="http://schemas.openxmlformats.org/officeDocument/2006/relationships/theme" Target="../theme/theme11.xml"/><Relationship Id="rId3" Type="http://schemas.openxmlformats.org/officeDocument/2006/relationships/slideLayout" Target="../slideLayouts/slideLayout345.xml"/><Relationship Id="rId12" Type="http://schemas.openxmlformats.org/officeDocument/2006/relationships/slideLayout" Target="../slideLayouts/slideLayout354.xml"/><Relationship Id="rId17" Type="http://schemas.openxmlformats.org/officeDocument/2006/relationships/slideLayout" Target="../slideLayouts/slideLayout359.xml"/><Relationship Id="rId25" Type="http://schemas.openxmlformats.org/officeDocument/2006/relationships/slideLayout" Target="../slideLayouts/slideLayout367.xml"/><Relationship Id="rId33" Type="http://schemas.openxmlformats.org/officeDocument/2006/relationships/slideLayout" Target="../slideLayouts/slideLayout375.xml"/><Relationship Id="rId38" Type="http://schemas.openxmlformats.org/officeDocument/2006/relationships/slideLayout" Target="../slideLayouts/slideLayout380.xml"/><Relationship Id="rId46" Type="http://schemas.openxmlformats.org/officeDocument/2006/relationships/slideLayout" Target="../slideLayouts/slideLayout388.xml"/><Relationship Id="rId59" Type="http://schemas.openxmlformats.org/officeDocument/2006/relationships/slideLayout" Target="../slideLayouts/slideLayout401.xml"/><Relationship Id="rId67" Type="http://schemas.openxmlformats.org/officeDocument/2006/relationships/slideLayout" Target="../slideLayouts/slideLayout409.xml"/><Relationship Id="rId20" Type="http://schemas.openxmlformats.org/officeDocument/2006/relationships/slideLayout" Target="../slideLayouts/slideLayout362.xml"/><Relationship Id="rId41" Type="http://schemas.openxmlformats.org/officeDocument/2006/relationships/slideLayout" Target="../slideLayouts/slideLayout383.xml"/><Relationship Id="rId54" Type="http://schemas.openxmlformats.org/officeDocument/2006/relationships/slideLayout" Target="../slideLayouts/slideLayout396.xml"/><Relationship Id="rId62" Type="http://schemas.openxmlformats.org/officeDocument/2006/relationships/slideLayout" Target="../slideLayouts/slideLayout404.xml"/><Relationship Id="rId70" Type="http://schemas.openxmlformats.org/officeDocument/2006/relationships/slideLayout" Target="../slideLayouts/slideLayout412.xml"/><Relationship Id="rId75" Type="http://schemas.openxmlformats.org/officeDocument/2006/relationships/oleObject" Target="../embeddings/oleObject1.bin"/><Relationship Id="rId1" Type="http://schemas.openxmlformats.org/officeDocument/2006/relationships/slideLayout" Target="../slideLayouts/slideLayout343.xml"/><Relationship Id="rId6" Type="http://schemas.openxmlformats.org/officeDocument/2006/relationships/slideLayout" Target="../slideLayouts/slideLayout348.xml"/><Relationship Id="rId15" Type="http://schemas.openxmlformats.org/officeDocument/2006/relationships/slideLayout" Target="../slideLayouts/slideLayout357.xml"/><Relationship Id="rId23" Type="http://schemas.openxmlformats.org/officeDocument/2006/relationships/slideLayout" Target="../slideLayouts/slideLayout365.xml"/><Relationship Id="rId28" Type="http://schemas.openxmlformats.org/officeDocument/2006/relationships/slideLayout" Target="../slideLayouts/slideLayout370.xml"/><Relationship Id="rId36" Type="http://schemas.openxmlformats.org/officeDocument/2006/relationships/slideLayout" Target="../slideLayouts/slideLayout378.xml"/><Relationship Id="rId49" Type="http://schemas.openxmlformats.org/officeDocument/2006/relationships/slideLayout" Target="../slideLayouts/slideLayout391.xml"/><Relationship Id="rId57" Type="http://schemas.openxmlformats.org/officeDocument/2006/relationships/slideLayout" Target="../slideLayouts/slideLayout399.xml"/><Relationship Id="rId10" Type="http://schemas.openxmlformats.org/officeDocument/2006/relationships/slideLayout" Target="../slideLayouts/slideLayout352.xml"/><Relationship Id="rId31" Type="http://schemas.openxmlformats.org/officeDocument/2006/relationships/slideLayout" Target="../slideLayouts/slideLayout373.xml"/><Relationship Id="rId44" Type="http://schemas.openxmlformats.org/officeDocument/2006/relationships/slideLayout" Target="../slideLayouts/slideLayout386.xml"/><Relationship Id="rId52" Type="http://schemas.openxmlformats.org/officeDocument/2006/relationships/slideLayout" Target="../slideLayouts/slideLayout394.xml"/><Relationship Id="rId60" Type="http://schemas.openxmlformats.org/officeDocument/2006/relationships/slideLayout" Target="../slideLayouts/slideLayout402.xml"/><Relationship Id="rId65" Type="http://schemas.openxmlformats.org/officeDocument/2006/relationships/slideLayout" Target="../slideLayouts/slideLayout407.xml"/><Relationship Id="rId73" Type="http://schemas.openxmlformats.org/officeDocument/2006/relationships/tags" Target="../tags/tag421.xml"/><Relationship Id="rId4" Type="http://schemas.openxmlformats.org/officeDocument/2006/relationships/slideLayout" Target="../slideLayouts/slideLayout346.xml"/><Relationship Id="rId9" Type="http://schemas.openxmlformats.org/officeDocument/2006/relationships/slideLayout" Target="../slideLayouts/slideLayout351.xml"/><Relationship Id="rId13" Type="http://schemas.openxmlformats.org/officeDocument/2006/relationships/slideLayout" Target="../slideLayouts/slideLayout355.xml"/><Relationship Id="rId18" Type="http://schemas.openxmlformats.org/officeDocument/2006/relationships/slideLayout" Target="../slideLayouts/slideLayout360.xml"/><Relationship Id="rId39" Type="http://schemas.openxmlformats.org/officeDocument/2006/relationships/slideLayout" Target="../slideLayouts/slideLayout381.xml"/><Relationship Id="rId34" Type="http://schemas.openxmlformats.org/officeDocument/2006/relationships/slideLayout" Target="../slideLayouts/slideLayout376.xml"/><Relationship Id="rId50" Type="http://schemas.openxmlformats.org/officeDocument/2006/relationships/slideLayout" Target="../slideLayouts/slideLayout392.xml"/><Relationship Id="rId55" Type="http://schemas.openxmlformats.org/officeDocument/2006/relationships/slideLayout" Target="../slideLayouts/slideLayout397.xml"/><Relationship Id="rId76" Type="http://schemas.openxmlformats.org/officeDocument/2006/relationships/image" Target="../media/image26.emf"/><Relationship Id="rId7" Type="http://schemas.openxmlformats.org/officeDocument/2006/relationships/slideLayout" Target="../slideLayouts/slideLayout349.xml"/><Relationship Id="rId71" Type="http://schemas.openxmlformats.org/officeDocument/2006/relationships/slideLayout" Target="../slideLayouts/slideLayout413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1.xml"/><Relationship Id="rId13" Type="http://schemas.openxmlformats.org/officeDocument/2006/relationships/theme" Target="../theme/theme12.xml"/><Relationship Id="rId3" Type="http://schemas.openxmlformats.org/officeDocument/2006/relationships/slideLayout" Target="../slideLayouts/slideLayout416.xml"/><Relationship Id="rId7" Type="http://schemas.openxmlformats.org/officeDocument/2006/relationships/slideLayout" Target="../slideLayouts/slideLayout420.xml"/><Relationship Id="rId12" Type="http://schemas.openxmlformats.org/officeDocument/2006/relationships/slideLayout" Target="../slideLayouts/slideLayout425.xml"/><Relationship Id="rId2" Type="http://schemas.openxmlformats.org/officeDocument/2006/relationships/slideLayout" Target="../slideLayouts/slideLayout415.xml"/><Relationship Id="rId1" Type="http://schemas.openxmlformats.org/officeDocument/2006/relationships/slideLayout" Target="../slideLayouts/slideLayout414.xml"/><Relationship Id="rId6" Type="http://schemas.openxmlformats.org/officeDocument/2006/relationships/slideLayout" Target="../slideLayouts/slideLayout419.xml"/><Relationship Id="rId11" Type="http://schemas.openxmlformats.org/officeDocument/2006/relationships/slideLayout" Target="../slideLayouts/slideLayout424.xml"/><Relationship Id="rId5" Type="http://schemas.openxmlformats.org/officeDocument/2006/relationships/slideLayout" Target="../slideLayouts/slideLayout418.xml"/><Relationship Id="rId10" Type="http://schemas.openxmlformats.org/officeDocument/2006/relationships/slideLayout" Target="../slideLayouts/slideLayout423.xml"/><Relationship Id="rId4" Type="http://schemas.openxmlformats.org/officeDocument/2006/relationships/slideLayout" Target="../slideLayouts/slideLayout417.xml"/><Relationship Id="rId9" Type="http://schemas.openxmlformats.org/officeDocument/2006/relationships/slideLayout" Target="../slideLayouts/slideLayout4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2" Type="http://schemas.openxmlformats.org/officeDocument/2006/relationships/slideLayout" Target="../slideLayouts/slideLayout8.xml"/><Relationship Id="rId16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image" Target="../media/image8.png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image" Target="../media/image5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slideLayout" Target="../slideLayouts/slideLayout32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5" Type="http://schemas.openxmlformats.org/officeDocument/2006/relationships/slideLayout" Target="../slideLayouts/slideLayout34.xml"/><Relationship Id="rId4" Type="http://schemas.openxmlformats.org/officeDocument/2006/relationships/slideLayout" Target="../slideLayouts/slideLayout3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image" Target="../media/image9.jpeg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/Relationships>
</file>

<file path=ppt/slideMasters/_rels/slideMaster6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71.xml"/><Relationship Id="rId21" Type="http://schemas.openxmlformats.org/officeDocument/2006/relationships/slideLayout" Target="../slideLayouts/slideLayout66.xml"/><Relationship Id="rId42" Type="http://schemas.openxmlformats.org/officeDocument/2006/relationships/slideLayout" Target="../slideLayouts/slideLayout87.xml"/><Relationship Id="rId47" Type="http://schemas.openxmlformats.org/officeDocument/2006/relationships/slideLayout" Target="../slideLayouts/slideLayout92.xml"/><Relationship Id="rId63" Type="http://schemas.openxmlformats.org/officeDocument/2006/relationships/slideLayout" Target="../slideLayouts/slideLayout108.xml"/><Relationship Id="rId68" Type="http://schemas.openxmlformats.org/officeDocument/2006/relationships/slideLayout" Target="../slideLayouts/slideLayout113.xml"/><Relationship Id="rId2" Type="http://schemas.openxmlformats.org/officeDocument/2006/relationships/slideLayout" Target="../slideLayouts/slideLayout47.xml"/><Relationship Id="rId16" Type="http://schemas.openxmlformats.org/officeDocument/2006/relationships/slideLayout" Target="../slideLayouts/slideLayout61.xml"/><Relationship Id="rId29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56.xml"/><Relationship Id="rId24" Type="http://schemas.openxmlformats.org/officeDocument/2006/relationships/slideLayout" Target="../slideLayouts/slideLayout69.xml"/><Relationship Id="rId32" Type="http://schemas.openxmlformats.org/officeDocument/2006/relationships/slideLayout" Target="../slideLayouts/slideLayout77.xml"/><Relationship Id="rId37" Type="http://schemas.openxmlformats.org/officeDocument/2006/relationships/slideLayout" Target="../slideLayouts/slideLayout82.xml"/><Relationship Id="rId40" Type="http://schemas.openxmlformats.org/officeDocument/2006/relationships/slideLayout" Target="../slideLayouts/slideLayout85.xml"/><Relationship Id="rId45" Type="http://schemas.openxmlformats.org/officeDocument/2006/relationships/slideLayout" Target="../slideLayouts/slideLayout90.xml"/><Relationship Id="rId53" Type="http://schemas.openxmlformats.org/officeDocument/2006/relationships/slideLayout" Target="../slideLayouts/slideLayout98.xml"/><Relationship Id="rId58" Type="http://schemas.openxmlformats.org/officeDocument/2006/relationships/slideLayout" Target="../slideLayouts/slideLayout103.xml"/><Relationship Id="rId66" Type="http://schemas.openxmlformats.org/officeDocument/2006/relationships/slideLayout" Target="../slideLayouts/slideLayout111.xml"/><Relationship Id="rId5" Type="http://schemas.openxmlformats.org/officeDocument/2006/relationships/slideLayout" Target="../slideLayouts/slideLayout50.xml"/><Relationship Id="rId61" Type="http://schemas.openxmlformats.org/officeDocument/2006/relationships/slideLayout" Target="../slideLayouts/slideLayout106.xml"/><Relationship Id="rId1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59.xml"/><Relationship Id="rId22" Type="http://schemas.openxmlformats.org/officeDocument/2006/relationships/slideLayout" Target="../slideLayouts/slideLayout67.xml"/><Relationship Id="rId27" Type="http://schemas.openxmlformats.org/officeDocument/2006/relationships/slideLayout" Target="../slideLayouts/slideLayout72.xml"/><Relationship Id="rId30" Type="http://schemas.openxmlformats.org/officeDocument/2006/relationships/slideLayout" Target="../slideLayouts/slideLayout75.xml"/><Relationship Id="rId35" Type="http://schemas.openxmlformats.org/officeDocument/2006/relationships/slideLayout" Target="../slideLayouts/slideLayout80.xml"/><Relationship Id="rId43" Type="http://schemas.openxmlformats.org/officeDocument/2006/relationships/slideLayout" Target="../slideLayouts/slideLayout88.xml"/><Relationship Id="rId48" Type="http://schemas.openxmlformats.org/officeDocument/2006/relationships/slideLayout" Target="../slideLayouts/slideLayout93.xml"/><Relationship Id="rId56" Type="http://schemas.openxmlformats.org/officeDocument/2006/relationships/slideLayout" Target="../slideLayouts/slideLayout101.xml"/><Relationship Id="rId64" Type="http://schemas.openxmlformats.org/officeDocument/2006/relationships/slideLayout" Target="../slideLayouts/slideLayout109.xml"/><Relationship Id="rId69" Type="http://schemas.openxmlformats.org/officeDocument/2006/relationships/slideLayout" Target="../slideLayouts/slideLayout114.xml"/><Relationship Id="rId8" Type="http://schemas.openxmlformats.org/officeDocument/2006/relationships/slideLayout" Target="../slideLayouts/slideLayout53.xml"/><Relationship Id="rId51" Type="http://schemas.openxmlformats.org/officeDocument/2006/relationships/slideLayout" Target="../slideLayouts/slideLayout96.xml"/><Relationship Id="rId72" Type="http://schemas.openxmlformats.org/officeDocument/2006/relationships/theme" Target="../theme/theme6.xml"/><Relationship Id="rId3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7.xml"/><Relationship Id="rId17" Type="http://schemas.openxmlformats.org/officeDocument/2006/relationships/slideLayout" Target="../slideLayouts/slideLayout62.xml"/><Relationship Id="rId25" Type="http://schemas.openxmlformats.org/officeDocument/2006/relationships/slideLayout" Target="../slideLayouts/slideLayout70.xml"/><Relationship Id="rId33" Type="http://schemas.openxmlformats.org/officeDocument/2006/relationships/slideLayout" Target="../slideLayouts/slideLayout78.xml"/><Relationship Id="rId38" Type="http://schemas.openxmlformats.org/officeDocument/2006/relationships/slideLayout" Target="../slideLayouts/slideLayout83.xml"/><Relationship Id="rId46" Type="http://schemas.openxmlformats.org/officeDocument/2006/relationships/slideLayout" Target="../slideLayouts/slideLayout91.xml"/><Relationship Id="rId59" Type="http://schemas.openxmlformats.org/officeDocument/2006/relationships/slideLayout" Target="../slideLayouts/slideLayout104.xml"/><Relationship Id="rId67" Type="http://schemas.openxmlformats.org/officeDocument/2006/relationships/slideLayout" Target="../slideLayouts/slideLayout112.xml"/><Relationship Id="rId20" Type="http://schemas.openxmlformats.org/officeDocument/2006/relationships/slideLayout" Target="../slideLayouts/slideLayout65.xml"/><Relationship Id="rId41" Type="http://schemas.openxmlformats.org/officeDocument/2006/relationships/slideLayout" Target="../slideLayouts/slideLayout86.xml"/><Relationship Id="rId54" Type="http://schemas.openxmlformats.org/officeDocument/2006/relationships/slideLayout" Target="../slideLayouts/slideLayout99.xml"/><Relationship Id="rId62" Type="http://schemas.openxmlformats.org/officeDocument/2006/relationships/slideLayout" Target="../slideLayouts/slideLayout107.xml"/><Relationship Id="rId70" Type="http://schemas.openxmlformats.org/officeDocument/2006/relationships/slideLayout" Target="../slideLayouts/slideLayout115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5" Type="http://schemas.openxmlformats.org/officeDocument/2006/relationships/slideLayout" Target="../slideLayouts/slideLayout60.xml"/><Relationship Id="rId23" Type="http://schemas.openxmlformats.org/officeDocument/2006/relationships/slideLayout" Target="../slideLayouts/slideLayout68.xml"/><Relationship Id="rId28" Type="http://schemas.openxmlformats.org/officeDocument/2006/relationships/slideLayout" Target="../slideLayouts/slideLayout73.xml"/><Relationship Id="rId36" Type="http://schemas.openxmlformats.org/officeDocument/2006/relationships/slideLayout" Target="../slideLayouts/slideLayout81.xml"/><Relationship Id="rId49" Type="http://schemas.openxmlformats.org/officeDocument/2006/relationships/slideLayout" Target="../slideLayouts/slideLayout94.xml"/><Relationship Id="rId57" Type="http://schemas.openxmlformats.org/officeDocument/2006/relationships/slideLayout" Target="../slideLayouts/slideLayout102.xml"/><Relationship Id="rId10" Type="http://schemas.openxmlformats.org/officeDocument/2006/relationships/slideLayout" Target="../slideLayouts/slideLayout55.xml"/><Relationship Id="rId31" Type="http://schemas.openxmlformats.org/officeDocument/2006/relationships/slideLayout" Target="../slideLayouts/slideLayout76.xml"/><Relationship Id="rId44" Type="http://schemas.openxmlformats.org/officeDocument/2006/relationships/slideLayout" Target="../slideLayouts/slideLayout89.xml"/><Relationship Id="rId52" Type="http://schemas.openxmlformats.org/officeDocument/2006/relationships/slideLayout" Target="../slideLayouts/slideLayout97.xml"/><Relationship Id="rId60" Type="http://schemas.openxmlformats.org/officeDocument/2006/relationships/slideLayout" Target="../slideLayouts/slideLayout105.xml"/><Relationship Id="rId65" Type="http://schemas.openxmlformats.org/officeDocument/2006/relationships/slideLayout" Target="../slideLayouts/slideLayout110.xml"/><Relationship Id="rId73" Type="http://schemas.openxmlformats.org/officeDocument/2006/relationships/tags" Target="../tags/tag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3" Type="http://schemas.openxmlformats.org/officeDocument/2006/relationships/slideLayout" Target="../slideLayouts/slideLayout58.xml"/><Relationship Id="rId18" Type="http://schemas.openxmlformats.org/officeDocument/2006/relationships/slideLayout" Target="../slideLayouts/slideLayout63.xml"/><Relationship Id="rId39" Type="http://schemas.openxmlformats.org/officeDocument/2006/relationships/slideLayout" Target="../slideLayouts/slideLayout84.xml"/><Relationship Id="rId34" Type="http://schemas.openxmlformats.org/officeDocument/2006/relationships/slideLayout" Target="../slideLayouts/slideLayout79.xml"/><Relationship Id="rId50" Type="http://schemas.openxmlformats.org/officeDocument/2006/relationships/slideLayout" Target="../slideLayouts/slideLayout95.xml"/><Relationship Id="rId55" Type="http://schemas.openxmlformats.org/officeDocument/2006/relationships/slideLayout" Target="../slideLayouts/slideLayout100.xml"/><Relationship Id="rId7" Type="http://schemas.openxmlformats.org/officeDocument/2006/relationships/slideLayout" Target="../slideLayouts/slideLayout52.xml"/><Relationship Id="rId71" Type="http://schemas.openxmlformats.org/officeDocument/2006/relationships/slideLayout" Target="../slideLayouts/slideLayout116.xml"/></Relationships>
</file>

<file path=ppt/slideMasters/_rels/slideMaster7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42.xml"/><Relationship Id="rId21" Type="http://schemas.openxmlformats.org/officeDocument/2006/relationships/slideLayout" Target="../slideLayouts/slideLayout137.xml"/><Relationship Id="rId42" Type="http://schemas.openxmlformats.org/officeDocument/2006/relationships/slideLayout" Target="../slideLayouts/slideLayout158.xml"/><Relationship Id="rId47" Type="http://schemas.openxmlformats.org/officeDocument/2006/relationships/slideLayout" Target="../slideLayouts/slideLayout163.xml"/><Relationship Id="rId63" Type="http://schemas.openxmlformats.org/officeDocument/2006/relationships/slideLayout" Target="../slideLayouts/slideLayout179.xml"/><Relationship Id="rId68" Type="http://schemas.openxmlformats.org/officeDocument/2006/relationships/slideLayout" Target="../slideLayouts/slideLayout184.xml"/><Relationship Id="rId2" Type="http://schemas.openxmlformats.org/officeDocument/2006/relationships/slideLayout" Target="../slideLayouts/slideLayout118.xml"/><Relationship Id="rId16" Type="http://schemas.openxmlformats.org/officeDocument/2006/relationships/slideLayout" Target="../slideLayouts/slideLayout132.xml"/><Relationship Id="rId29" Type="http://schemas.openxmlformats.org/officeDocument/2006/relationships/slideLayout" Target="../slideLayouts/slideLayout145.xml"/><Relationship Id="rId11" Type="http://schemas.openxmlformats.org/officeDocument/2006/relationships/slideLayout" Target="../slideLayouts/slideLayout127.xml"/><Relationship Id="rId24" Type="http://schemas.openxmlformats.org/officeDocument/2006/relationships/slideLayout" Target="../slideLayouts/slideLayout140.xml"/><Relationship Id="rId32" Type="http://schemas.openxmlformats.org/officeDocument/2006/relationships/slideLayout" Target="../slideLayouts/slideLayout148.xml"/><Relationship Id="rId37" Type="http://schemas.openxmlformats.org/officeDocument/2006/relationships/slideLayout" Target="../slideLayouts/slideLayout153.xml"/><Relationship Id="rId40" Type="http://schemas.openxmlformats.org/officeDocument/2006/relationships/slideLayout" Target="../slideLayouts/slideLayout156.xml"/><Relationship Id="rId45" Type="http://schemas.openxmlformats.org/officeDocument/2006/relationships/slideLayout" Target="../slideLayouts/slideLayout161.xml"/><Relationship Id="rId53" Type="http://schemas.openxmlformats.org/officeDocument/2006/relationships/slideLayout" Target="../slideLayouts/slideLayout169.xml"/><Relationship Id="rId58" Type="http://schemas.openxmlformats.org/officeDocument/2006/relationships/slideLayout" Target="../slideLayouts/slideLayout174.xml"/><Relationship Id="rId66" Type="http://schemas.openxmlformats.org/officeDocument/2006/relationships/slideLayout" Target="../slideLayouts/slideLayout182.xml"/><Relationship Id="rId5" Type="http://schemas.openxmlformats.org/officeDocument/2006/relationships/slideLayout" Target="../slideLayouts/slideLayout121.xml"/><Relationship Id="rId61" Type="http://schemas.openxmlformats.org/officeDocument/2006/relationships/slideLayout" Target="../slideLayouts/slideLayout177.xml"/><Relationship Id="rId19" Type="http://schemas.openxmlformats.org/officeDocument/2006/relationships/slideLayout" Target="../slideLayouts/slideLayout135.xml"/><Relationship Id="rId14" Type="http://schemas.openxmlformats.org/officeDocument/2006/relationships/slideLayout" Target="../slideLayouts/slideLayout130.xml"/><Relationship Id="rId22" Type="http://schemas.openxmlformats.org/officeDocument/2006/relationships/slideLayout" Target="../slideLayouts/slideLayout138.xml"/><Relationship Id="rId27" Type="http://schemas.openxmlformats.org/officeDocument/2006/relationships/slideLayout" Target="../slideLayouts/slideLayout143.xml"/><Relationship Id="rId30" Type="http://schemas.openxmlformats.org/officeDocument/2006/relationships/slideLayout" Target="../slideLayouts/slideLayout146.xml"/><Relationship Id="rId35" Type="http://schemas.openxmlformats.org/officeDocument/2006/relationships/slideLayout" Target="../slideLayouts/slideLayout151.xml"/><Relationship Id="rId43" Type="http://schemas.openxmlformats.org/officeDocument/2006/relationships/slideLayout" Target="../slideLayouts/slideLayout159.xml"/><Relationship Id="rId48" Type="http://schemas.openxmlformats.org/officeDocument/2006/relationships/slideLayout" Target="../slideLayouts/slideLayout164.xml"/><Relationship Id="rId56" Type="http://schemas.openxmlformats.org/officeDocument/2006/relationships/slideLayout" Target="../slideLayouts/slideLayout172.xml"/><Relationship Id="rId64" Type="http://schemas.openxmlformats.org/officeDocument/2006/relationships/slideLayout" Target="../slideLayouts/slideLayout180.xml"/><Relationship Id="rId69" Type="http://schemas.openxmlformats.org/officeDocument/2006/relationships/slideLayout" Target="../slideLayouts/slideLayout185.xml"/><Relationship Id="rId8" Type="http://schemas.openxmlformats.org/officeDocument/2006/relationships/slideLayout" Target="../slideLayouts/slideLayout124.xml"/><Relationship Id="rId51" Type="http://schemas.openxmlformats.org/officeDocument/2006/relationships/slideLayout" Target="../slideLayouts/slideLayout167.xml"/><Relationship Id="rId72" Type="http://schemas.openxmlformats.org/officeDocument/2006/relationships/theme" Target="../theme/theme7.xml"/><Relationship Id="rId3" Type="http://schemas.openxmlformats.org/officeDocument/2006/relationships/slideLayout" Target="../slideLayouts/slideLayout119.xml"/><Relationship Id="rId12" Type="http://schemas.openxmlformats.org/officeDocument/2006/relationships/slideLayout" Target="../slideLayouts/slideLayout128.xml"/><Relationship Id="rId17" Type="http://schemas.openxmlformats.org/officeDocument/2006/relationships/slideLayout" Target="../slideLayouts/slideLayout133.xml"/><Relationship Id="rId25" Type="http://schemas.openxmlformats.org/officeDocument/2006/relationships/slideLayout" Target="../slideLayouts/slideLayout141.xml"/><Relationship Id="rId33" Type="http://schemas.openxmlformats.org/officeDocument/2006/relationships/slideLayout" Target="../slideLayouts/slideLayout149.xml"/><Relationship Id="rId38" Type="http://schemas.openxmlformats.org/officeDocument/2006/relationships/slideLayout" Target="../slideLayouts/slideLayout154.xml"/><Relationship Id="rId46" Type="http://schemas.openxmlformats.org/officeDocument/2006/relationships/slideLayout" Target="../slideLayouts/slideLayout162.xml"/><Relationship Id="rId59" Type="http://schemas.openxmlformats.org/officeDocument/2006/relationships/slideLayout" Target="../slideLayouts/slideLayout175.xml"/><Relationship Id="rId67" Type="http://schemas.openxmlformats.org/officeDocument/2006/relationships/slideLayout" Target="../slideLayouts/slideLayout183.xml"/><Relationship Id="rId20" Type="http://schemas.openxmlformats.org/officeDocument/2006/relationships/slideLayout" Target="../slideLayouts/slideLayout136.xml"/><Relationship Id="rId41" Type="http://schemas.openxmlformats.org/officeDocument/2006/relationships/slideLayout" Target="../slideLayouts/slideLayout157.xml"/><Relationship Id="rId54" Type="http://schemas.openxmlformats.org/officeDocument/2006/relationships/slideLayout" Target="../slideLayouts/slideLayout170.xml"/><Relationship Id="rId62" Type="http://schemas.openxmlformats.org/officeDocument/2006/relationships/slideLayout" Target="../slideLayouts/slideLayout178.xml"/><Relationship Id="rId70" Type="http://schemas.openxmlformats.org/officeDocument/2006/relationships/slideLayout" Target="../slideLayouts/slideLayout186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5" Type="http://schemas.openxmlformats.org/officeDocument/2006/relationships/slideLayout" Target="../slideLayouts/slideLayout131.xml"/><Relationship Id="rId23" Type="http://schemas.openxmlformats.org/officeDocument/2006/relationships/slideLayout" Target="../slideLayouts/slideLayout139.xml"/><Relationship Id="rId28" Type="http://schemas.openxmlformats.org/officeDocument/2006/relationships/slideLayout" Target="../slideLayouts/slideLayout144.xml"/><Relationship Id="rId36" Type="http://schemas.openxmlformats.org/officeDocument/2006/relationships/slideLayout" Target="../slideLayouts/slideLayout152.xml"/><Relationship Id="rId49" Type="http://schemas.openxmlformats.org/officeDocument/2006/relationships/slideLayout" Target="../slideLayouts/slideLayout165.xml"/><Relationship Id="rId57" Type="http://schemas.openxmlformats.org/officeDocument/2006/relationships/slideLayout" Target="../slideLayouts/slideLayout173.xml"/><Relationship Id="rId10" Type="http://schemas.openxmlformats.org/officeDocument/2006/relationships/slideLayout" Target="../slideLayouts/slideLayout126.xml"/><Relationship Id="rId31" Type="http://schemas.openxmlformats.org/officeDocument/2006/relationships/slideLayout" Target="../slideLayouts/slideLayout147.xml"/><Relationship Id="rId44" Type="http://schemas.openxmlformats.org/officeDocument/2006/relationships/slideLayout" Target="../slideLayouts/slideLayout160.xml"/><Relationship Id="rId52" Type="http://schemas.openxmlformats.org/officeDocument/2006/relationships/slideLayout" Target="../slideLayouts/slideLayout168.xml"/><Relationship Id="rId60" Type="http://schemas.openxmlformats.org/officeDocument/2006/relationships/slideLayout" Target="../slideLayouts/slideLayout176.xml"/><Relationship Id="rId65" Type="http://schemas.openxmlformats.org/officeDocument/2006/relationships/slideLayout" Target="../slideLayouts/slideLayout181.xml"/><Relationship Id="rId73" Type="http://schemas.openxmlformats.org/officeDocument/2006/relationships/tags" Target="../tags/tag109.xml"/><Relationship Id="rId4" Type="http://schemas.openxmlformats.org/officeDocument/2006/relationships/slideLayout" Target="../slideLayouts/slideLayout120.xml"/><Relationship Id="rId9" Type="http://schemas.openxmlformats.org/officeDocument/2006/relationships/slideLayout" Target="../slideLayouts/slideLayout125.xml"/><Relationship Id="rId13" Type="http://schemas.openxmlformats.org/officeDocument/2006/relationships/slideLayout" Target="../slideLayouts/slideLayout129.xml"/><Relationship Id="rId18" Type="http://schemas.openxmlformats.org/officeDocument/2006/relationships/slideLayout" Target="../slideLayouts/slideLayout134.xml"/><Relationship Id="rId39" Type="http://schemas.openxmlformats.org/officeDocument/2006/relationships/slideLayout" Target="../slideLayouts/slideLayout155.xml"/><Relationship Id="rId34" Type="http://schemas.openxmlformats.org/officeDocument/2006/relationships/slideLayout" Target="../slideLayouts/slideLayout150.xml"/><Relationship Id="rId50" Type="http://schemas.openxmlformats.org/officeDocument/2006/relationships/slideLayout" Target="../slideLayouts/slideLayout166.xml"/><Relationship Id="rId55" Type="http://schemas.openxmlformats.org/officeDocument/2006/relationships/slideLayout" Target="../slideLayouts/slideLayout171.xml"/><Relationship Id="rId7" Type="http://schemas.openxmlformats.org/officeDocument/2006/relationships/slideLayout" Target="../slideLayouts/slideLayout123.xml"/><Relationship Id="rId71" Type="http://schemas.openxmlformats.org/officeDocument/2006/relationships/slideLayout" Target="../slideLayouts/slideLayout187.xml"/></Relationships>
</file>

<file path=ppt/slideMasters/_rels/slideMaster8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13.xml"/><Relationship Id="rId21" Type="http://schemas.openxmlformats.org/officeDocument/2006/relationships/slideLayout" Target="../slideLayouts/slideLayout208.xml"/><Relationship Id="rId42" Type="http://schemas.openxmlformats.org/officeDocument/2006/relationships/slideLayout" Target="../slideLayouts/slideLayout229.xml"/><Relationship Id="rId47" Type="http://schemas.openxmlformats.org/officeDocument/2006/relationships/slideLayout" Target="../slideLayouts/slideLayout234.xml"/><Relationship Id="rId63" Type="http://schemas.openxmlformats.org/officeDocument/2006/relationships/slideLayout" Target="../slideLayouts/slideLayout250.xml"/><Relationship Id="rId68" Type="http://schemas.openxmlformats.org/officeDocument/2006/relationships/slideLayout" Target="../slideLayouts/slideLayout255.xml"/><Relationship Id="rId2" Type="http://schemas.openxmlformats.org/officeDocument/2006/relationships/slideLayout" Target="../slideLayouts/slideLayout189.xml"/><Relationship Id="rId16" Type="http://schemas.openxmlformats.org/officeDocument/2006/relationships/slideLayout" Target="../slideLayouts/slideLayout203.xml"/><Relationship Id="rId29" Type="http://schemas.openxmlformats.org/officeDocument/2006/relationships/slideLayout" Target="../slideLayouts/slideLayout216.xml"/><Relationship Id="rId11" Type="http://schemas.openxmlformats.org/officeDocument/2006/relationships/slideLayout" Target="../slideLayouts/slideLayout198.xml"/><Relationship Id="rId24" Type="http://schemas.openxmlformats.org/officeDocument/2006/relationships/slideLayout" Target="../slideLayouts/slideLayout211.xml"/><Relationship Id="rId32" Type="http://schemas.openxmlformats.org/officeDocument/2006/relationships/slideLayout" Target="../slideLayouts/slideLayout219.xml"/><Relationship Id="rId37" Type="http://schemas.openxmlformats.org/officeDocument/2006/relationships/slideLayout" Target="../slideLayouts/slideLayout224.xml"/><Relationship Id="rId40" Type="http://schemas.openxmlformats.org/officeDocument/2006/relationships/slideLayout" Target="../slideLayouts/slideLayout227.xml"/><Relationship Id="rId45" Type="http://schemas.openxmlformats.org/officeDocument/2006/relationships/slideLayout" Target="../slideLayouts/slideLayout232.xml"/><Relationship Id="rId53" Type="http://schemas.openxmlformats.org/officeDocument/2006/relationships/slideLayout" Target="../slideLayouts/slideLayout240.xml"/><Relationship Id="rId58" Type="http://schemas.openxmlformats.org/officeDocument/2006/relationships/slideLayout" Target="../slideLayouts/slideLayout245.xml"/><Relationship Id="rId66" Type="http://schemas.openxmlformats.org/officeDocument/2006/relationships/slideLayout" Target="../slideLayouts/slideLayout253.xml"/><Relationship Id="rId5" Type="http://schemas.openxmlformats.org/officeDocument/2006/relationships/slideLayout" Target="../slideLayouts/slideLayout192.xml"/><Relationship Id="rId61" Type="http://schemas.openxmlformats.org/officeDocument/2006/relationships/slideLayout" Target="../slideLayouts/slideLayout248.xml"/><Relationship Id="rId19" Type="http://schemas.openxmlformats.org/officeDocument/2006/relationships/slideLayout" Target="../slideLayouts/slideLayout206.xml"/><Relationship Id="rId14" Type="http://schemas.openxmlformats.org/officeDocument/2006/relationships/slideLayout" Target="../slideLayouts/slideLayout201.xml"/><Relationship Id="rId22" Type="http://schemas.openxmlformats.org/officeDocument/2006/relationships/slideLayout" Target="../slideLayouts/slideLayout209.xml"/><Relationship Id="rId27" Type="http://schemas.openxmlformats.org/officeDocument/2006/relationships/slideLayout" Target="../slideLayouts/slideLayout214.xml"/><Relationship Id="rId30" Type="http://schemas.openxmlformats.org/officeDocument/2006/relationships/slideLayout" Target="../slideLayouts/slideLayout217.xml"/><Relationship Id="rId35" Type="http://schemas.openxmlformats.org/officeDocument/2006/relationships/slideLayout" Target="../slideLayouts/slideLayout222.xml"/><Relationship Id="rId43" Type="http://schemas.openxmlformats.org/officeDocument/2006/relationships/slideLayout" Target="../slideLayouts/slideLayout230.xml"/><Relationship Id="rId48" Type="http://schemas.openxmlformats.org/officeDocument/2006/relationships/slideLayout" Target="../slideLayouts/slideLayout235.xml"/><Relationship Id="rId56" Type="http://schemas.openxmlformats.org/officeDocument/2006/relationships/slideLayout" Target="../slideLayouts/slideLayout243.xml"/><Relationship Id="rId64" Type="http://schemas.openxmlformats.org/officeDocument/2006/relationships/slideLayout" Target="../slideLayouts/slideLayout251.xml"/><Relationship Id="rId69" Type="http://schemas.openxmlformats.org/officeDocument/2006/relationships/slideLayout" Target="../slideLayouts/slideLayout256.xml"/><Relationship Id="rId8" Type="http://schemas.openxmlformats.org/officeDocument/2006/relationships/slideLayout" Target="../slideLayouts/slideLayout195.xml"/><Relationship Id="rId51" Type="http://schemas.openxmlformats.org/officeDocument/2006/relationships/slideLayout" Target="../slideLayouts/slideLayout238.xml"/><Relationship Id="rId72" Type="http://schemas.openxmlformats.org/officeDocument/2006/relationships/theme" Target="../theme/theme8.xml"/><Relationship Id="rId3" Type="http://schemas.openxmlformats.org/officeDocument/2006/relationships/slideLayout" Target="../slideLayouts/slideLayout190.xml"/><Relationship Id="rId12" Type="http://schemas.openxmlformats.org/officeDocument/2006/relationships/slideLayout" Target="../slideLayouts/slideLayout199.xml"/><Relationship Id="rId17" Type="http://schemas.openxmlformats.org/officeDocument/2006/relationships/slideLayout" Target="../slideLayouts/slideLayout204.xml"/><Relationship Id="rId25" Type="http://schemas.openxmlformats.org/officeDocument/2006/relationships/slideLayout" Target="../slideLayouts/slideLayout212.xml"/><Relationship Id="rId33" Type="http://schemas.openxmlformats.org/officeDocument/2006/relationships/slideLayout" Target="../slideLayouts/slideLayout220.xml"/><Relationship Id="rId38" Type="http://schemas.openxmlformats.org/officeDocument/2006/relationships/slideLayout" Target="../slideLayouts/slideLayout225.xml"/><Relationship Id="rId46" Type="http://schemas.openxmlformats.org/officeDocument/2006/relationships/slideLayout" Target="../slideLayouts/slideLayout233.xml"/><Relationship Id="rId59" Type="http://schemas.openxmlformats.org/officeDocument/2006/relationships/slideLayout" Target="../slideLayouts/slideLayout246.xml"/><Relationship Id="rId67" Type="http://schemas.openxmlformats.org/officeDocument/2006/relationships/slideLayout" Target="../slideLayouts/slideLayout254.xml"/><Relationship Id="rId20" Type="http://schemas.openxmlformats.org/officeDocument/2006/relationships/slideLayout" Target="../slideLayouts/slideLayout207.xml"/><Relationship Id="rId41" Type="http://schemas.openxmlformats.org/officeDocument/2006/relationships/slideLayout" Target="../slideLayouts/slideLayout228.xml"/><Relationship Id="rId54" Type="http://schemas.openxmlformats.org/officeDocument/2006/relationships/slideLayout" Target="../slideLayouts/slideLayout241.xml"/><Relationship Id="rId62" Type="http://schemas.openxmlformats.org/officeDocument/2006/relationships/slideLayout" Target="../slideLayouts/slideLayout249.xml"/><Relationship Id="rId70" Type="http://schemas.openxmlformats.org/officeDocument/2006/relationships/slideLayout" Target="../slideLayouts/slideLayout257.xml"/><Relationship Id="rId1" Type="http://schemas.openxmlformats.org/officeDocument/2006/relationships/slideLayout" Target="../slideLayouts/slideLayout188.xml"/><Relationship Id="rId6" Type="http://schemas.openxmlformats.org/officeDocument/2006/relationships/slideLayout" Target="../slideLayouts/slideLayout193.xml"/><Relationship Id="rId15" Type="http://schemas.openxmlformats.org/officeDocument/2006/relationships/slideLayout" Target="../slideLayouts/slideLayout202.xml"/><Relationship Id="rId23" Type="http://schemas.openxmlformats.org/officeDocument/2006/relationships/slideLayout" Target="../slideLayouts/slideLayout210.xml"/><Relationship Id="rId28" Type="http://schemas.openxmlformats.org/officeDocument/2006/relationships/slideLayout" Target="../slideLayouts/slideLayout215.xml"/><Relationship Id="rId36" Type="http://schemas.openxmlformats.org/officeDocument/2006/relationships/slideLayout" Target="../slideLayouts/slideLayout223.xml"/><Relationship Id="rId49" Type="http://schemas.openxmlformats.org/officeDocument/2006/relationships/slideLayout" Target="../slideLayouts/slideLayout236.xml"/><Relationship Id="rId57" Type="http://schemas.openxmlformats.org/officeDocument/2006/relationships/slideLayout" Target="../slideLayouts/slideLayout244.xml"/><Relationship Id="rId10" Type="http://schemas.openxmlformats.org/officeDocument/2006/relationships/slideLayout" Target="../slideLayouts/slideLayout197.xml"/><Relationship Id="rId31" Type="http://schemas.openxmlformats.org/officeDocument/2006/relationships/slideLayout" Target="../slideLayouts/slideLayout218.xml"/><Relationship Id="rId44" Type="http://schemas.openxmlformats.org/officeDocument/2006/relationships/slideLayout" Target="../slideLayouts/slideLayout231.xml"/><Relationship Id="rId52" Type="http://schemas.openxmlformats.org/officeDocument/2006/relationships/slideLayout" Target="../slideLayouts/slideLayout239.xml"/><Relationship Id="rId60" Type="http://schemas.openxmlformats.org/officeDocument/2006/relationships/slideLayout" Target="../slideLayouts/slideLayout247.xml"/><Relationship Id="rId65" Type="http://schemas.openxmlformats.org/officeDocument/2006/relationships/slideLayout" Target="../slideLayouts/slideLayout252.xml"/><Relationship Id="rId73" Type="http://schemas.openxmlformats.org/officeDocument/2006/relationships/tags" Target="../tags/tag213.xml"/><Relationship Id="rId4" Type="http://schemas.openxmlformats.org/officeDocument/2006/relationships/slideLayout" Target="../slideLayouts/slideLayout191.xml"/><Relationship Id="rId9" Type="http://schemas.openxmlformats.org/officeDocument/2006/relationships/slideLayout" Target="../slideLayouts/slideLayout196.xml"/><Relationship Id="rId13" Type="http://schemas.openxmlformats.org/officeDocument/2006/relationships/slideLayout" Target="../slideLayouts/slideLayout200.xml"/><Relationship Id="rId18" Type="http://schemas.openxmlformats.org/officeDocument/2006/relationships/slideLayout" Target="../slideLayouts/slideLayout205.xml"/><Relationship Id="rId39" Type="http://schemas.openxmlformats.org/officeDocument/2006/relationships/slideLayout" Target="../slideLayouts/slideLayout226.xml"/><Relationship Id="rId34" Type="http://schemas.openxmlformats.org/officeDocument/2006/relationships/slideLayout" Target="../slideLayouts/slideLayout221.xml"/><Relationship Id="rId50" Type="http://schemas.openxmlformats.org/officeDocument/2006/relationships/slideLayout" Target="../slideLayouts/slideLayout237.xml"/><Relationship Id="rId55" Type="http://schemas.openxmlformats.org/officeDocument/2006/relationships/slideLayout" Target="../slideLayouts/slideLayout242.xml"/><Relationship Id="rId7" Type="http://schemas.openxmlformats.org/officeDocument/2006/relationships/slideLayout" Target="../slideLayouts/slideLayout194.xml"/><Relationship Id="rId71" Type="http://schemas.openxmlformats.org/officeDocument/2006/relationships/slideLayout" Target="../slideLayouts/slideLayout258.xml"/></Relationships>
</file>

<file path=ppt/slideMasters/_rels/slideMaster9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84.xml"/><Relationship Id="rId21" Type="http://schemas.openxmlformats.org/officeDocument/2006/relationships/slideLayout" Target="../slideLayouts/slideLayout279.xml"/><Relationship Id="rId42" Type="http://schemas.openxmlformats.org/officeDocument/2006/relationships/slideLayout" Target="../slideLayouts/slideLayout300.xml"/><Relationship Id="rId47" Type="http://schemas.openxmlformats.org/officeDocument/2006/relationships/slideLayout" Target="../slideLayouts/slideLayout305.xml"/><Relationship Id="rId63" Type="http://schemas.openxmlformats.org/officeDocument/2006/relationships/slideLayout" Target="../slideLayouts/slideLayout321.xml"/><Relationship Id="rId68" Type="http://schemas.openxmlformats.org/officeDocument/2006/relationships/slideLayout" Target="../slideLayouts/slideLayout326.xml"/><Relationship Id="rId2" Type="http://schemas.openxmlformats.org/officeDocument/2006/relationships/slideLayout" Target="../slideLayouts/slideLayout260.xml"/><Relationship Id="rId16" Type="http://schemas.openxmlformats.org/officeDocument/2006/relationships/slideLayout" Target="../slideLayouts/slideLayout274.xml"/><Relationship Id="rId29" Type="http://schemas.openxmlformats.org/officeDocument/2006/relationships/slideLayout" Target="../slideLayouts/slideLayout287.xml"/><Relationship Id="rId11" Type="http://schemas.openxmlformats.org/officeDocument/2006/relationships/slideLayout" Target="../slideLayouts/slideLayout269.xml"/><Relationship Id="rId24" Type="http://schemas.openxmlformats.org/officeDocument/2006/relationships/slideLayout" Target="../slideLayouts/slideLayout282.xml"/><Relationship Id="rId32" Type="http://schemas.openxmlformats.org/officeDocument/2006/relationships/slideLayout" Target="../slideLayouts/slideLayout290.xml"/><Relationship Id="rId37" Type="http://schemas.openxmlformats.org/officeDocument/2006/relationships/slideLayout" Target="../slideLayouts/slideLayout295.xml"/><Relationship Id="rId40" Type="http://schemas.openxmlformats.org/officeDocument/2006/relationships/slideLayout" Target="../slideLayouts/slideLayout298.xml"/><Relationship Id="rId45" Type="http://schemas.openxmlformats.org/officeDocument/2006/relationships/slideLayout" Target="../slideLayouts/slideLayout303.xml"/><Relationship Id="rId53" Type="http://schemas.openxmlformats.org/officeDocument/2006/relationships/slideLayout" Target="../slideLayouts/slideLayout311.xml"/><Relationship Id="rId58" Type="http://schemas.openxmlformats.org/officeDocument/2006/relationships/slideLayout" Target="../slideLayouts/slideLayout316.xml"/><Relationship Id="rId66" Type="http://schemas.openxmlformats.org/officeDocument/2006/relationships/slideLayout" Target="../slideLayouts/slideLayout324.xml"/><Relationship Id="rId5" Type="http://schemas.openxmlformats.org/officeDocument/2006/relationships/slideLayout" Target="../slideLayouts/slideLayout263.xml"/><Relationship Id="rId61" Type="http://schemas.openxmlformats.org/officeDocument/2006/relationships/slideLayout" Target="../slideLayouts/slideLayout319.xml"/><Relationship Id="rId19" Type="http://schemas.openxmlformats.org/officeDocument/2006/relationships/slideLayout" Target="../slideLayouts/slideLayout277.xml"/><Relationship Id="rId14" Type="http://schemas.openxmlformats.org/officeDocument/2006/relationships/slideLayout" Target="../slideLayouts/slideLayout272.xml"/><Relationship Id="rId22" Type="http://schemas.openxmlformats.org/officeDocument/2006/relationships/slideLayout" Target="../slideLayouts/slideLayout280.xml"/><Relationship Id="rId27" Type="http://schemas.openxmlformats.org/officeDocument/2006/relationships/slideLayout" Target="../slideLayouts/slideLayout285.xml"/><Relationship Id="rId30" Type="http://schemas.openxmlformats.org/officeDocument/2006/relationships/slideLayout" Target="../slideLayouts/slideLayout288.xml"/><Relationship Id="rId35" Type="http://schemas.openxmlformats.org/officeDocument/2006/relationships/slideLayout" Target="../slideLayouts/slideLayout293.xml"/><Relationship Id="rId43" Type="http://schemas.openxmlformats.org/officeDocument/2006/relationships/slideLayout" Target="../slideLayouts/slideLayout301.xml"/><Relationship Id="rId48" Type="http://schemas.openxmlformats.org/officeDocument/2006/relationships/slideLayout" Target="../slideLayouts/slideLayout306.xml"/><Relationship Id="rId56" Type="http://schemas.openxmlformats.org/officeDocument/2006/relationships/slideLayout" Target="../slideLayouts/slideLayout314.xml"/><Relationship Id="rId64" Type="http://schemas.openxmlformats.org/officeDocument/2006/relationships/slideLayout" Target="../slideLayouts/slideLayout322.xml"/><Relationship Id="rId69" Type="http://schemas.openxmlformats.org/officeDocument/2006/relationships/slideLayout" Target="../slideLayouts/slideLayout327.xml"/><Relationship Id="rId8" Type="http://schemas.openxmlformats.org/officeDocument/2006/relationships/slideLayout" Target="../slideLayouts/slideLayout266.xml"/><Relationship Id="rId51" Type="http://schemas.openxmlformats.org/officeDocument/2006/relationships/slideLayout" Target="../slideLayouts/slideLayout309.xml"/><Relationship Id="rId72" Type="http://schemas.openxmlformats.org/officeDocument/2006/relationships/theme" Target="../theme/theme9.xml"/><Relationship Id="rId3" Type="http://schemas.openxmlformats.org/officeDocument/2006/relationships/slideLayout" Target="../slideLayouts/slideLayout261.xml"/><Relationship Id="rId12" Type="http://schemas.openxmlformats.org/officeDocument/2006/relationships/slideLayout" Target="../slideLayouts/slideLayout270.xml"/><Relationship Id="rId17" Type="http://schemas.openxmlformats.org/officeDocument/2006/relationships/slideLayout" Target="../slideLayouts/slideLayout275.xml"/><Relationship Id="rId25" Type="http://schemas.openxmlformats.org/officeDocument/2006/relationships/slideLayout" Target="../slideLayouts/slideLayout283.xml"/><Relationship Id="rId33" Type="http://schemas.openxmlformats.org/officeDocument/2006/relationships/slideLayout" Target="../slideLayouts/slideLayout291.xml"/><Relationship Id="rId38" Type="http://schemas.openxmlformats.org/officeDocument/2006/relationships/slideLayout" Target="../slideLayouts/slideLayout296.xml"/><Relationship Id="rId46" Type="http://schemas.openxmlformats.org/officeDocument/2006/relationships/slideLayout" Target="../slideLayouts/slideLayout304.xml"/><Relationship Id="rId59" Type="http://schemas.openxmlformats.org/officeDocument/2006/relationships/slideLayout" Target="../slideLayouts/slideLayout317.xml"/><Relationship Id="rId67" Type="http://schemas.openxmlformats.org/officeDocument/2006/relationships/slideLayout" Target="../slideLayouts/slideLayout325.xml"/><Relationship Id="rId20" Type="http://schemas.openxmlformats.org/officeDocument/2006/relationships/slideLayout" Target="../slideLayouts/slideLayout278.xml"/><Relationship Id="rId41" Type="http://schemas.openxmlformats.org/officeDocument/2006/relationships/slideLayout" Target="../slideLayouts/slideLayout299.xml"/><Relationship Id="rId54" Type="http://schemas.openxmlformats.org/officeDocument/2006/relationships/slideLayout" Target="../slideLayouts/slideLayout312.xml"/><Relationship Id="rId62" Type="http://schemas.openxmlformats.org/officeDocument/2006/relationships/slideLayout" Target="../slideLayouts/slideLayout320.xml"/><Relationship Id="rId70" Type="http://schemas.openxmlformats.org/officeDocument/2006/relationships/slideLayout" Target="../slideLayouts/slideLayout328.xml"/><Relationship Id="rId1" Type="http://schemas.openxmlformats.org/officeDocument/2006/relationships/slideLayout" Target="../slideLayouts/slideLayout259.xml"/><Relationship Id="rId6" Type="http://schemas.openxmlformats.org/officeDocument/2006/relationships/slideLayout" Target="../slideLayouts/slideLayout264.xml"/><Relationship Id="rId15" Type="http://schemas.openxmlformats.org/officeDocument/2006/relationships/slideLayout" Target="../slideLayouts/slideLayout273.xml"/><Relationship Id="rId23" Type="http://schemas.openxmlformats.org/officeDocument/2006/relationships/slideLayout" Target="../slideLayouts/slideLayout281.xml"/><Relationship Id="rId28" Type="http://schemas.openxmlformats.org/officeDocument/2006/relationships/slideLayout" Target="../slideLayouts/slideLayout286.xml"/><Relationship Id="rId36" Type="http://schemas.openxmlformats.org/officeDocument/2006/relationships/slideLayout" Target="../slideLayouts/slideLayout294.xml"/><Relationship Id="rId49" Type="http://schemas.openxmlformats.org/officeDocument/2006/relationships/slideLayout" Target="../slideLayouts/slideLayout307.xml"/><Relationship Id="rId57" Type="http://schemas.openxmlformats.org/officeDocument/2006/relationships/slideLayout" Target="../slideLayouts/slideLayout315.xml"/><Relationship Id="rId10" Type="http://schemas.openxmlformats.org/officeDocument/2006/relationships/slideLayout" Target="../slideLayouts/slideLayout268.xml"/><Relationship Id="rId31" Type="http://schemas.openxmlformats.org/officeDocument/2006/relationships/slideLayout" Target="../slideLayouts/slideLayout289.xml"/><Relationship Id="rId44" Type="http://schemas.openxmlformats.org/officeDocument/2006/relationships/slideLayout" Target="../slideLayouts/slideLayout302.xml"/><Relationship Id="rId52" Type="http://schemas.openxmlformats.org/officeDocument/2006/relationships/slideLayout" Target="../slideLayouts/slideLayout310.xml"/><Relationship Id="rId60" Type="http://schemas.openxmlformats.org/officeDocument/2006/relationships/slideLayout" Target="../slideLayouts/slideLayout318.xml"/><Relationship Id="rId65" Type="http://schemas.openxmlformats.org/officeDocument/2006/relationships/slideLayout" Target="../slideLayouts/slideLayout323.xml"/><Relationship Id="rId73" Type="http://schemas.openxmlformats.org/officeDocument/2006/relationships/tags" Target="../tags/tag317.xml"/><Relationship Id="rId4" Type="http://schemas.openxmlformats.org/officeDocument/2006/relationships/slideLayout" Target="../slideLayouts/slideLayout262.xml"/><Relationship Id="rId9" Type="http://schemas.openxmlformats.org/officeDocument/2006/relationships/slideLayout" Target="../slideLayouts/slideLayout267.xml"/><Relationship Id="rId13" Type="http://schemas.openxmlformats.org/officeDocument/2006/relationships/slideLayout" Target="../slideLayouts/slideLayout271.xml"/><Relationship Id="rId18" Type="http://schemas.openxmlformats.org/officeDocument/2006/relationships/slideLayout" Target="../slideLayouts/slideLayout276.xml"/><Relationship Id="rId39" Type="http://schemas.openxmlformats.org/officeDocument/2006/relationships/slideLayout" Target="../slideLayouts/slideLayout297.xml"/><Relationship Id="rId34" Type="http://schemas.openxmlformats.org/officeDocument/2006/relationships/slideLayout" Target="../slideLayouts/slideLayout292.xml"/><Relationship Id="rId50" Type="http://schemas.openxmlformats.org/officeDocument/2006/relationships/slideLayout" Target="../slideLayouts/slideLayout308.xml"/><Relationship Id="rId55" Type="http://schemas.openxmlformats.org/officeDocument/2006/relationships/slideLayout" Target="../slideLayouts/slideLayout313.xml"/><Relationship Id="rId7" Type="http://schemas.openxmlformats.org/officeDocument/2006/relationships/slideLayout" Target="../slideLayouts/slideLayout265.xml"/><Relationship Id="rId71" Type="http://schemas.openxmlformats.org/officeDocument/2006/relationships/slideLayout" Target="../slideLayouts/slideLayout3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8" cstate="print">
            <a:alphaModFix amt="4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3115" y="-1066800"/>
            <a:ext cx="12270013" cy="8775843"/>
          </a:xfrm>
          <a:prstGeom prst="rect">
            <a:avLst/>
          </a:prstGeom>
        </p:spPr>
      </p:pic>
      <p:sp>
        <p:nvSpPr>
          <p:cNvPr id="7475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65102" y="68266"/>
            <a:ext cx="9791700" cy="846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6" tIns="45718" rIns="91436" bIns="4571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7475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3202" y="1143000"/>
            <a:ext cx="11713633" cy="50292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36" tIns="45718" rIns="91436" bIns="4571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  <a:p>
            <a:pPr lvl="3"/>
            <a:r>
              <a:rPr lang="en-US" altLang="en-US" dirty="0"/>
              <a:t>Fourth level</a:t>
            </a:r>
          </a:p>
          <a:p>
            <a:pPr lvl="4"/>
            <a:r>
              <a:rPr lang="en-US" altLang="en-US" dirty="0"/>
              <a:t>Fifth level</a:t>
            </a:r>
          </a:p>
        </p:txBody>
      </p:sp>
      <p:sp>
        <p:nvSpPr>
          <p:cNvPr id="74756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205317" y="6324600"/>
            <a:ext cx="2540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6" tIns="45718" rIns="91436" bIns="45718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300"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7475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210052" y="6324600"/>
            <a:ext cx="3858683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6" tIns="45718" rIns="91436" bIns="45718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defRPr sz="1300"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7475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427633" y="6297613"/>
            <a:ext cx="2540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6" tIns="45718" rIns="91436" bIns="45718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300"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B1FE28B5-CB33-4198-B76D-2029C60F2AFC}" type="slidenum">
              <a:rPr lang="en-US" altLang="en-US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4177" y="6332617"/>
            <a:ext cx="12270013" cy="538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0126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</p:sldLayoutIdLst>
  <p:transition spd="slow">
    <p:fade/>
  </p:transition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3600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7353" y="-533400"/>
            <a:ext cx="12265520" cy="8775843"/>
          </a:xfrm>
          <a:prstGeom prst="rect">
            <a:avLst/>
          </a:prstGeom>
        </p:spPr>
      </p:pic>
      <p:sp>
        <p:nvSpPr>
          <p:cNvPr id="74756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205317" y="6324600"/>
            <a:ext cx="2540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6" tIns="45718" rIns="91436" bIns="45718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300"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7475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210052" y="6324600"/>
            <a:ext cx="3858683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6" tIns="45718" rIns="91436" bIns="45718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defRPr sz="1300"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7475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427633" y="6297613"/>
            <a:ext cx="2540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6" tIns="45718" rIns="91436" bIns="45718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300"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B1FE28B5-CB33-4198-B76D-2029C60F2AFC}" type="slidenum">
              <a:rPr lang="en-US" altLang="en-US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4177" y="6332617"/>
            <a:ext cx="12270013" cy="538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26851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00" r:id="rId1"/>
    <p:sldLayoutId id="2147485201" r:id="rId2"/>
    <p:sldLayoutId id="2147485202" r:id="rId3"/>
    <p:sldLayoutId id="2147485203" r:id="rId4"/>
    <p:sldLayoutId id="2147485204" r:id="rId5"/>
    <p:sldLayoutId id="2147485205" r:id="rId6"/>
    <p:sldLayoutId id="2147485206" r:id="rId7"/>
    <p:sldLayoutId id="2147485207" r:id="rId8"/>
    <p:sldLayoutId id="2147485208" r:id="rId9"/>
    <p:sldLayoutId id="2147485209" r:id="rId10"/>
    <p:sldLayoutId id="2147485210" r:id="rId11"/>
    <p:sldLayoutId id="2147485211" r:id="rId12"/>
    <p:sldLayoutId id="2147485212" r:id="rId13"/>
  </p:sldLayoutIdLst>
  <p:transition spd="slow">
    <p:fade/>
  </p:transition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3600" b="1" kern="1200">
          <a:solidFill>
            <a:srgbClr val="EF4F5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Tx/>
        <a:buBlip>
          <a:blip r:embed="rId17"/>
        </a:buBlip>
        <a:defRPr sz="2900" kern="1200">
          <a:solidFill>
            <a:srgbClr val="343132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500" kern="1200">
          <a:solidFill>
            <a:srgbClr val="343132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Tx/>
        <a:buBlip>
          <a:blip r:embed="rId17"/>
        </a:buBlip>
        <a:defRPr sz="2200" kern="1200">
          <a:solidFill>
            <a:srgbClr val="343132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kern="1200">
          <a:solidFill>
            <a:srgbClr val="343132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kern="1200">
          <a:solidFill>
            <a:srgbClr val="34313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3"/>
            </p:custDataLst>
            <p:extLst>
              <p:ext uri="{D42A27DB-BD31-4B8C-83A1-F6EECF244321}">
                <p14:modId xmlns:p14="http://schemas.microsoft.com/office/powerpoint/2010/main" val="26329623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5" imgW="270" imgH="270" progId="TCLayout.ActiveDocument.1">
                  <p:embed/>
                </p:oleObj>
              </mc:Choice>
              <mc:Fallback>
                <p:oleObj name="think-cell Slide" r:id="rId7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7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3550836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14" r:id="rId1"/>
    <p:sldLayoutId id="2147485215" r:id="rId2"/>
    <p:sldLayoutId id="2147485216" r:id="rId3"/>
    <p:sldLayoutId id="2147485217" r:id="rId4"/>
    <p:sldLayoutId id="2147485218" r:id="rId5"/>
    <p:sldLayoutId id="2147485219" r:id="rId6"/>
    <p:sldLayoutId id="2147485220" r:id="rId7"/>
    <p:sldLayoutId id="2147485221" r:id="rId8"/>
    <p:sldLayoutId id="2147485222" r:id="rId9"/>
    <p:sldLayoutId id="2147485223" r:id="rId10"/>
    <p:sldLayoutId id="2147485224" r:id="rId11"/>
    <p:sldLayoutId id="2147485225" r:id="rId12"/>
    <p:sldLayoutId id="2147485226" r:id="rId13"/>
    <p:sldLayoutId id="2147485227" r:id="rId14"/>
    <p:sldLayoutId id="2147485228" r:id="rId15"/>
    <p:sldLayoutId id="2147485229" r:id="rId16"/>
    <p:sldLayoutId id="2147485230" r:id="rId17"/>
    <p:sldLayoutId id="2147485231" r:id="rId18"/>
    <p:sldLayoutId id="2147485232" r:id="rId19"/>
    <p:sldLayoutId id="2147485233" r:id="rId20"/>
    <p:sldLayoutId id="2147485234" r:id="rId21"/>
    <p:sldLayoutId id="2147485235" r:id="rId22"/>
    <p:sldLayoutId id="2147485236" r:id="rId23"/>
    <p:sldLayoutId id="2147485237" r:id="rId24"/>
    <p:sldLayoutId id="2147485238" r:id="rId25"/>
    <p:sldLayoutId id="2147485239" r:id="rId26"/>
    <p:sldLayoutId id="2147485240" r:id="rId27"/>
    <p:sldLayoutId id="2147485241" r:id="rId28"/>
    <p:sldLayoutId id="2147485242" r:id="rId29"/>
    <p:sldLayoutId id="2147485243" r:id="rId30"/>
    <p:sldLayoutId id="2147485244" r:id="rId31"/>
    <p:sldLayoutId id="2147485245" r:id="rId32"/>
    <p:sldLayoutId id="2147485246" r:id="rId33"/>
    <p:sldLayoutId id="2147485247" r:id="rId34"/>
    <p:sldLayoutId id="2147485248" r:id="rId35"/>
    <p:sldLayoutId id="2147485249" r:id="rId36"/>
    <p:sldLayoutId id="2147485250" r:id="rId37"/>
    <p:sldLayoutId id="2147485251" r:id="rId38"/>
    <p:sldLayoutId id="2147485252" r:id="rId39"/>
    <p:sldLayoutId id="2147485253" r:id="rId40"/>
    <p:sldLayoutId id="2147485254" r:id="rId41"/>
    <p:sldLayoutId id="2147485255" r:id="rId42"/>
    <p:sldLayoutId id="2147485256" r:id="rId43"/>
    <p:sldLayoutId id="2147485257" r:id="rId44"/>
    <p:sldLayoutId id="2147485258" r:id="rId45"/>
    <p:sldLayoutId id="2147485259" r:id="rId46"/>
    <p:sldLayoutId id="2147485260" r:id="rId47"/>
    <p:sldLayoutId id="2147485261" r:id="rId48"/>
    <p:sldLayoutId id="2147485262" r:id="rId49"/>
    <p:sldLayoutId id="2147485263" r:id="rId50"/>
    <p:sldLayoutId id="2147485264" r:id="rId51"/>
    <p:sldLayoutId id="2147485265" r:id="rId52"/>
    <p:sldLayoutId id="2147485266" r:id="rId53"/>
    <p:sldLayoutId id="2147485267" r:id="rId54"/>
    <p:sldLayoutId id="2147485268" r:id="rId55"/>
    <p:sldLayoutId id="2147485269" r:id="rId56"/>
    <p:sldLayoutId id="2147485270" r:id="rId57"/>
    <p:sldLayoutId id="2147485271" r:id="rId58"/>
    <p:sldLayoutId id="2147485272" r:id="rId59"/>
    <p:sldLayoutId id="2147485273" r:id="rId60"/>
    <p:sldLayoutId id="2147485274" r:id="rId61"/>
    <p:sldLayoutId id="2147485275" r:id="rId62"/>
    <p:sldLayoutId id="2147485276" r:id="rId63"/>
    <p:sldLayoutId id="2147485277" r:id="rId64"/>
    <p:sldLayoutId id="2147485278" r:id="rId65"/>
    <p:sldLayoutId id="2147485279" r:id="rId66"/>
    <p:sldLayoutId id="2147485280" r:id="rId67"/>
    <p:sldLayoutId id="2147485281" r:id="rId68"/>
    <p:sldLayoutId id="2147485282" r:id="rId69"/>
    <p:sldLayoutId id="2147485283" r:id="rId70"/>
    <p:sldLayoutId id="2147485284" r:id="rId7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EF4F50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EF4F50"/>
        </a:buClr>
        <a:buFont typeface="Arial" panose="020B0604020202020204" pitchFamily="34" charset="0"/>
        <a:buChar char="​"/>
        <a:defRPr lang="en-US" sz="1200" kern="1200">
          <a:solidFill>
            <a:srgbClr val="262626"/>
          </a:solidFill>
          <a:latin typeface="+mn-lt"/>
          <a:ea typeface="+mn-ea"/>
          <a:cs typeface="+mn-cs"/>
          <a:sym typeface="+mn-lt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EF4F50"/>
        </a:buClr>
        <a:buFont typeface="Arial" panose="020B0604020202020204" pitchFamily="34" charset="0"/>
        <a:buChar char="•"/>
        <a:defRPr lang="en-US" sz="1200" kern="1200">
          <a:solidFill>
            <a:srgbClr val="262626"/>
          </a:solidFill>
          <a:latin typeface="+mn-lt"/>
          <a:ea typeface="+mn-ea"/>
          <a:cs typeface="+mn-cs"/>
          <a:sym typeface="+mn-lt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EF4F50"/>
        </a:buClr>
        <a:buFont typeface="Trebuchet MS" panose="020B0603020202020204" pitchFamily="34" charset="0"/>
        <a:buChar char="–"/>
        <a:defRPr lang="en-US" sz="1200" kern="1200">
          <a:solidFill>
            <a:srgbClr val="262626"/>
          </a:solidFill>
          <a:latin typeface="+mn-lt"/>
          <a:ea typeface="+mn-ea"/>
          <a:cs typeface="+mn-cs"/>
          <a:sym typeface="+mn-lt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EF4F50"/>
        </a:buClr>
        <a:buFont typeface="Arial" panose="020B0604020202020204" pitchFamily="34" charset="0"/>
        <a:buChar char="​"/>
        <a:defRPr lang="en-US" sz="1600" kern="1200">
          <a:solidFill>
            <a:srgbClr val="EF4F50"/>
          </a:solidFill>
          <a:latin typeface="+mn-lt"/>
          <a:ea typeface="+mn-ea"/>
          <a:cs typeface="+mn-cs"/>
          <a:sym typeface="+mn-lt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EF4F50"/>
        </a:buClr>
        <a:buFont typeface="Arial" panose="020B0604020202020204" pitchFamily="34" charset="0"/>
        <a:buChar char="​"/>
        <a:defRPr lang="en-US" sz="1600" b="1" kern="1200" smtClean="0">
          <a:solidFill>
            <a:srgbClr val="262626"/>
          </a:solidFill>
          <a:latin typeface="+mn-lt"/>
          <a:ea typeface="+mn-ea"/>
          <a:cs typeface="+mn-cs"/>
          <a:sym typeface="+mn-lt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EF4F50"/>
        </a:buClr>
        <a:buFont typeface="Arial" panose="020B0604020202020204" pitchFamily="34" charset="0"/>
        <a:buChar char="•"/>
        <a:defRPr lang="en-US" sz="1600" kern="1200" smtClean="0">
          <a:solidFill>
            <a:srgbClr val="262626"/>
          </a:solidFill>
          <a:latin typeface="+mn-lt"/>
          <a:ea typeface="+mn-ea"/>
          <a:cs typeface="+mn-cs"/>
          <a:sym typeface="+mn-lt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EF4F50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262626"/>
          </a:solidFill>
          <a:latin typeface="+mn-lt"/>
          <a:ea typeface="+mn-ea"/>
          <a:cs typeface="+mn-cs"/>
          <a:sym typeface="+mn-lt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EF4F50"/>
        </a:buClr>
        <a:buFont typeface="Arial" panose="020B0604020202020204" pitchFamily="34" charset="0"/>
        <a:buChar char="​"/>
        <a:defRPr lang="en-US" sz="5400" kern="1200" baseline="0" smtClean="0">
          <a:solidFill>
            <a:srgbClr val="EF4F50"/>
          </a:solidFill>
          <a:latin typeface="+mn-lt"/>
          <a:ea typeface="+mn-ea"/>
          <a:cs typeface="+mn-cs"/>
          <a:sym typeface="+mn-lt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EF4F50"/>
        </a:buClr>
        <a:buFont typeface="Arial" panose="020B0604020202020204" pitchFamily="34" charset="0"/>
        <a:buChar char="​"/>
        <a:defRPr lang="en-US" sz="2400" kern="1200" baseline="0" dirty="0">
          <a:solidFill>
            <a:srgbClr val="EF4F50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05C6F81-D4B5-8181-2702-3DBD76EA14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BF7FA1-5710-BA92-28B3-3C28C3E4EA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3B51061-FAE1-7AA3-ADF7-CB7F4B82528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9620E7-5E1B-062D-22E6-A92B6C1294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EE92F7-7A79-8EAF-9147-7DC44895D7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B1FE28B5-CB33-4198-B76D-2029C60F2AFC}" type="slidenum">
              <a:rPr lang="en-US" altLang="en-US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7660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12" r:id="rId1"/>
    <p:sldLayoutId id="2147485313" r:id="rId2"/>
    <p:sldLayoutId id="2147485314" r:id="rId3"/>
    <p:sldLayoutId id="2147485315" r:id="rId4"/>
    <p:sldLayoutId id="2147485316" r:id="rId5"/>
    <p:sldLayoutId id="2147485317" r:id="rId6"/>
    <p:sldLayoutId id="2147485318" r:id="rId7"/>
    <p:sldLayoutId id="2147485319" r:id="rId8"/>
    <p:sldLayoutId id="2147485320" r:id="rId9"/>
    <p:sldLayoutId id="2147485321" r:id="rId10"/>
    <p:sldLayoutId id="2147485322" r:id="rId11"/>
    <p:sldLayoutId id="2147485323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7353" y="-533400"/>
            <a:ext cx="12265520" cy="8775843"/>
          </a:xfrm>
          <a:prstGeom prst="rect">
            <a:avLst/>
          </a:prstGeom>
        </p:spPr>
      </p:pic>
      <p:sp>
        <p:nvSpPr>
          <p:cNvPr id="74756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205317" y="6324600"/>
            <a:ext cx="2540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6" tIns="45718" rIns="91436" bIns="45718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300"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7475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210052" y="6324600"/>
            <a:ext cx="3858683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6" tIns="45718" rIns="91436" bIns="45718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defRPr sz="1300"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7475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427633" y="6297613"/>
            <a:ext cx="2540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6" tIns="45718" rIns="91436" bIns="45718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300"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B1FE28B5-CB33-4198-B76D-2029C60F2AFC}" type="slidenum">
              <a:rPr lang="en-US" altLang="en-US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4177" y="6332617"/>
            <a:ext cx="12270013" cy="538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48814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94" r:id="rId3"/>
    <p:sldLayoutId id="2147483807" r:id="rId4"/>
    <p:sldLayoutId id="2147483786" r:id="rId5"/>
    <p:sldLayoutId id="2147483787" r:id="rId6"/>
    <p:sldLayoutId id="2147483788" r:id="rId7"/>
    <p:sldLayoutId id="2147483789" r:id="rId8"/>
    <p:sldLayoutId id="2147483790" r:id="rId9"/>
    <p:sldLayoutId id="2147483791" r:id="rId10"/>
    <p:sldLayoutId id="2147483792" r:id="rId11"/>
    <p:sldLayoutId id="2147483793" r:id="rId12"/>
  </p:sldLayoutIdLst>
  <p:transition spd="slow">
    <p:fade/>
  </p:transition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3600" b="1" kern="1200">
          <a:solidFill>
            <a:srgbClr val="EF4F5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Tx/>
        <a:buBlip>
          <a:blip r:embed="rId16"/>
        </a:buBlip>
        <a:defRPr sz="2900" kern="1200">
          <a:solidFill>
            <a:srgbClr val="343132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500" kern="1200">
          <a:solidFill>
            <a:srgbClr val="343132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Tx/>
        <a:buBlip>
          <a:blip r:embed="rId16"/>
        </a:buBlip>
        <a:defRPr sz="2200" kern="1200">
          <a:solidFill>
            <a:srgbClr val="343132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kern="1200">
          <a:solidFill>
            <a:srgbClr val="343132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kern="1200">
          <a:solidFill>
            <a:srgbClr val="34313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0" y="0"/>
            <a:ext cx="12215836" cy="6871366"/>
          </a:xfrm>
          <a:prstGeom prst="rect">
            <a:avLst/>
          </a:prstGeom>
          <a:solidFill>
            <a:srgbClr val="EF4F50"/>
          </a:solidFill>
          <a:ln w="12700" cap="sq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756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205317" y="6324600"/>
            <a:ext cx="2540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6" tIns="45718" rIns="91436" bIns="45718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300"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7475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210052" y="6324600"/>
            <a:ext cx="3858683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6" tIns="45718" rIns="91436" bIns="45718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defRPr sz="1300"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7475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427633" y="6297613"/>
            <a:ext cx="2540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6" tIns="45718" rIns="91436" bIns="45718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300"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B1FE28B5-CB33-4198-B76D-2029C60F2AFC}" type="slidenum">
              <a:rPr lang="en-US" altLang="en-US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4175" y="6332617"/>
            <a:ext cx="12270008" cy="538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60972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  <p:sldLayoutId id="2147483800" r:id="rId5"/>
    <p:sldLayoutId id="2147483801" r:id="rId6"/>
    <p:sldLayoutId id="2147483802" r:id="rId7"/>
    <p:sldLayoutId id="2147483803" r:id="rId8"/>
    <p:sldLayoutId id="2147483804" r:id="rId9"/>
    <p:sldLayoutId id="2147483805" r:id="rId10"/>
    <p:sldLayoutId id="2147483806" r:id="rId11"/>
  </p:sldLayoutIdLst>
  <p:transition spd="slow">
    <p:fade/>
  </p:transition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3600" b="1" kern="1200">
          <a:solidFill>
            <a:srgbClr val="EF4F5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Tx/>
        <a:buBlip>
          <a:blip r:embed="rId14"/>
        </a:buBlip>
        <a:defRPr sz="2900" kern="1200">
          <a:solidFill>
            <a:srgbClr val="343132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500" kern="1200">
          <a:solidFill>
            <a:srgbClr val="343132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Tx/>
        <a:buBlip>
          <a:blip r:embed="rId14"/>
        </a:buBlip>
        <a:defRPr sz="2200" kern="1200">
          <a:solidFill>
            <a:srgbClr val="343132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kern="1200">
          <a:solidFill>
            <a:srgbClr val="343132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kern="1200">
          <a:solidFill>
            <a:srgbClr val="34313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053"/>
            <a:ext cx="12219623" cy="6858000"/>
          </a:xfrm>
          <a:prstGeom prst="rect">
            <a:avLst/>
          </a:prstGeom>
        </p:spPr>
      </p:pic>
      <p:sp>
        <p:nvSpPr>
          <p:cNvPr id="7475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65102" y="68266"/>
            <a:ext cx="9791700" cy="846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6" tIns="45718" rIns="91436" bIns="4571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7475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3202" y="1143000"/>
            <a:ext cx="11713633" cy="50292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36" tIns="45718" rIns="91436" bIns="4571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  <a:p>
            <a:pPr lvl="3"/>
            <a:r>
              <a:rPr lang="en-US" altLang="en-US" dirty="0"/>
              <a:t>Fourth level</a:t>
            </a:r>
          </a:p>
          <a:p>
            <a:pPr lvl="4"/>
            <a:r>
              <a:rPr lang="en-US" altLang="en-US" dirty="0"/>
              <a:t>Fifth level</a:t>
            </a:r>
          </a:p>
        </p:txBody>
      </p:sp>
      <p:sp>
        <p:nvSpPr>
          <p:cNvPr id="74756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205317" y="6324600"/>
            <a:ext cx="2540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6" tIns="45718" rIns="91436" bIns="45718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300"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7475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210052" y="6324600"/>
            <a:ext cx="3858683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6" tIns="45718" rIns="91436" bIns="45718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defRPr sz="1300"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219623" cy="6858000"/>
          </a:xfrm>
          <a:prstGeom prst="rect">
            <a:avLst/>
          </a:prstGeom>
        </p:spPr>
      </p:pic>
      <p:sp>
        <p:nvSpPr>
          <p:cNvPr id="7475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427633" y="6297613"/>
            <a:ext cx="2540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6" tIns="45718" rIns="91436" bIns="45718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300"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B1FE28B5-CB33-4198-B76D-2029C60F2AFC}" type="slidenum">
              <a:rPr lang="en-US" altLang="en-US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0518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56" r:id="rId2"/>
    <p:sldLayoutId id="2147483757" r:id="rId3"/>
    <p:sldLayoutId id="2147483758" r:id="rId4"/>
    <p:sldLayoutId id="2147483759" r:id="rId5"/>
    <p:sldLayoutId id="2147483760" r:id="rId6"/>
  </p:sldLayoutIdLst>
  <p:transition spd="slow">
    <p:fade/>
  </p:transition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3600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053"/>
            <a:ext cx="12219623" cy="6858000"/>
          </a:xfrm>
          <a:prstGeom prst="rect">
            <a:avLst/>
          </a:prstGeom>
        </p:spPr>
      </p:pic>
      <p:sp>
        <p:nvSpPr>
          <p:cNvPr id="7475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65102" y="68266"/>
            <a:ext cx="9791700" cy="846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6" tIns="45718" rIns="91436" bIns="4571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7475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3202" y="1143000"/>
            <a:ext cx="11713633" cy="50292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36" tIns="45718" rIns="91436" bIns="4571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  <a:p>
            <a:pPr lvl="3"/>
            <a:r>
              <a:rPr lang="en-US" altLang="en-US" dirty="0"/>
              <a:t>Fourth level</a:t>
            </a:r>
          </a:p>
          <a:p>
            <a:pPr lvl="4"/>
            <a:r>
              <a:rPr lang="en-US" altLang="en-US" dirty="0"/>
              <a:t>Fifth level</a:t>
            </a:r>
          </a:p>
        </p:txBody>
      </p:sp>
      <p:sp>
        <p:nvSpPr>
          <p:cNvPr id="74756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205317" y="6324600"/>
            <a:ext cx="2540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6" tIns="45718" rIns="91436" bIns="45718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300"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7475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210052" y="6324600"/>
            <a:ext cx="3858683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6" tIns="45718" rIns="91436" bIns="45718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defRPr sz="1300"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219623" cy="6858000"/>
          </a:xfrm>
          <a:prstGeom prst="rect">
            <a:avLst/>
          </a:prstGeom>
        </p:spPr>
      </p:pic>
      <p:sp>
        <p:nvSpPr>
          <p:cNvPr id="7475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427633" y="6297613"/>
            <a:ext cx="2540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6" tIns="45718" rIns="91436" bIns="45718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300"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B1FE28B5-CB33-4198-B76D-2029C60F2AFC}" type="slidenum">
              <a:rPr lang="en-US" altLang="en-US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3304223" y="776429"/>
            <a:ext cx="8915400" cy="45719"/>
          </a:xfrm>
          <a:prstGeom prst="rect">
            <a:avLst/>
          </a:prstGeom>
          <a:solidFill>
            <a:srgbClr val="354C64"/>
          </a:solidFill>
          <a:ln w="12700" cap="sq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1333" y="116681"/>
            <a:ext cx="1440568" cy="597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1703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7" r:id="rId4"/>
    <p:sldLayoutId id="2147483768" r:id="rId5"/>
    <p:sldLayoutId id="2147483769" r:id="rId6"/>
    <p:sldLayoutId id="2147483770" r:id="rId7"/>
    <p:sldLayoutId id="2147483771" r:id="rId8"/>
    <p:sldLayoutId id="2147485189" r:id="rId9"/>
    <p:sldLayoutId id="2147485190" r:id="rId10"/>
  </p:sldLayoutIdLst>
  <p:transition spd="slow">
    <p:fade/>
  </p:transition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3600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 hidden="1"/>
          <p:cNvSpPr/>
          <p:nvPr userDrawn="1">
            <p:custDataLst>
              <p:tags r:id="rId7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33568621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862" r:id="rId2"/>
    <p:sldLayoutId id="2147483863" r:id="rId3"/>
    <p:sldLayoutId id="2147483864" r:id="rId4"/>
    <p:sldLayoutId id="2147483865" r:id="rId5"/>
    <p:sldLayoutId id="2147483866" r:id="rId6"/>
    <p:sldLayoutId id="2147483867" r:id="rId7"/>
    <p:sldLayoutId id="2147483868" r:id="rId8"/>
    <p:sldLayoutId id="2147483869" r:id="rId9"/>
    <p:sldLayoutId id="2147483870" r:id="rId10"/>
    <p:sldLayoutId id="2147483871" r:id="rId11"/>
    <p:sldLayoutId id="2147483872" r:id="rId12"/>
    <p:sldLayoutId id="2147483873" r:id="rId13"/>
    <p:sldLayoutId id="2147483874" r:id="rId14"/>
    <p:sldLayoutId id="2147483875" r:id="rId15"/>
    <p:sldLayoutId id="2147483876" r:id="rId16"/>
    <p:sldLayoutId id="2147483877" r:id="rId17"/>
    <p:sldLayoutId id="2147483878" r:id="rId18"/>
    <p:sldLayoutId id="2147483879" r:id="rId19"/>
    <p:sldLayoutId id="2147483880" r:id="rId20"/>
    <p:sldLayoutId id="2147483881" r:id="rId21"/>
    <p:sldLayoutId id="2147483882" r:id="rId22"/>
    <p:sldLayoutId id="2147483883" r:id="rId23"/>
    <p:sldLayoutId id="2147483884" r:id="rId24"/>
    <p:sldLayoutId id="2147483885" r:id="rId25"/>
    <p:sldLayoutId id="2147483886" r:id="rId26"/>
    <p:sldLayoutId id="2147483887" r:id="rId27"/>
    <p:sldLayoutId id="2147483888" r:id="rId28"/>
    <p:sldLayoutId id="2147483889" r:id="rId29"/>
    <p:sldLayoutId id="2147483890" r:id="rId30"/>
    <p:sldLayoutId id="2147483891" r:id="rId31"/>
    <p:sldLayoutId id="2147483892" r:id="rId32"/>
    <p:sldLayoutId id="2147483893" r:id="rId33"/>
    <p:sldLayoutId id="2147483894" r:id="rId34"/>
    <p:sldLayoutId id="2147483895" r:id="rId35"/>
    <p:sldLayoutId id="2147483896" r:id="rId36"/>
    <p:sldLayoutId id="2147483897" r:id="rId37"/>
    <p:sldLayoutId id="2147483898" r:id="rId38"/>
    <p:sldLayoutId id="2147483899" r:id="rId39"/>
    <p:sldLayoutId id="2147483900" r:id="rId40"/>
    <p:sldLayoutId id="2147483901" r:id="rId41"/>
    <p:sldLayoutId id="2147483902" r:id="rId42"/>
    <p:sldLayoutId id="2147483903" r:id="rId43"/>
    <p:sldLayoutId id="2147483904" r:id="rId44"/>
    <p:sldLayoutId id="2147483905" r:id="rId45"/>
    <p:sldLayoutId id="2147483906" r:id="rId46"/>
    <p:sldLayoutId id="2147483907" r:id="rId47"/>
    <p:sldLayoutId id="2147483908" r:id="rId48"/>
    <p:sldLayoutId id="2147483909" r:id="rId49"/>
    <p:sldLayoutId id="2147483910" r:id="rId50"/>
    <p:sldLayoutId id="2147483911" r:id="rId51"/>
    <p:sldLayoutId id="2147483912" r:id="rId52"/>
    <p:sldLayoutId id="2147483913" r:id="rId53"/>
    <p:sldLayoutId id="2147483914" r:id="rId54"/>
    <p:sldLayoutId id="2147483915" r:id="rId55"/>
    <p:sldLayoutId id="2147483916" r:id="rId56"/>
    <p:sldLayoutId id="2147483917" r:id="rId57"/>
    <p:sldLayoutId id="2147483918" r:id="rId58"/>
    <p:sldLayoutId id="2147483919" r:id="rId59"/>
    <p:sldLayoutId id="2147483920" r:id="rId60"/>
    <p:sldLayoutId id="2147483921" r:id="rId61"/>
    <p:sldLayoutId id="2147483922" r:id="rId62"/>
    <p:sldLayoutId id="2147483923" r:id="rId63"/>
    <p:sldLayoutId id="2147483924" r:id="rId64"/>
    <p:sldLayoutId id="2147483925" r:id="rId65"/>
    <p:sldLayoutId id="2147483926" r:id="rId66"/>
    <p:sldLayoutId id="2147483927" r:id="rId67"/>
    <p:sldLayoutId id="2147483928" r:id="rId68"/>
    <p:sldLayoutId id="2147483929" r:id="rId69"/>
    <p:sldLayoutId id="2147483930" r:id="rId70"/>
    <p:sldLayoutId id="2147483931" r:id="rId7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EF4F50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EF4F50"/>
        </a:buClr>
        <a:buFont typeface="Arial" panose="020B0604020202020204" pitchFamily="34" charset="0"/>
        <a:buChar char="​"/>
        <a:defRPr lang="en-US" sz="1200" kern="1200">
          <a:solidFill>
            <a:srgbClr val="262626"/>
          </a:solidFill>
          <a:latin typeface="+mn-lt"/>
          <a:ea typeface="+mn-ea"/>
          <a:cs typeface="+mn-cs"/>
          <a:sym typeface="+mn-lt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EF4F50"/>
        </a:buClr>
        <a:buFont typeface="Arial" panose="020B0604020202020204" pitchFamily="34" charset="0"/>
        <a:buChar char="•"/>
        <a:defRPr lang="en-US" sz="1200" kern="1200">
          <a:solidFill>
            <a:srgbClr val="262626"/>
          </a:solidFill>
          <a:latin typeface="+mn-lt"/>
          <a:ea typeface="+mn-ea"/>
          <a:cs typeface="+mn-cs"/>
          <a:sym typeface="+mn-lt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EF4F50"/>
        </a:buClr>
        <a:buFont typeface="Trebuchet MS" panose="020B0603020202020204" pitchFamily="34" charset="0"/>
        <a:buChar char="–"/>
        <a:defRPr lang="en-US" sz="1200" kern="1200">
          <a:solidFill>
            <a:srgbClr val="262626"/>
          </a:solidFill>
          <a:latin typeface="+mn-lt"/>
          <a:ea typeface="+mn-ea"/>
          <a:cs typeface="+mn-cs"/>
          <a:sym typeface="+mn-lt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EF4F50"/>
        </a:buClr>
        <a:buFont typeface="Arial" panose="020B0604020202020204" pitchFamily="34" charset="0"/>
        <a:buChar char="​"/>
        <a:defRPr lang="en-US" sz="1600" kern="1200">
          <a:solidFill>
            <a:srgbClr val="EF4F50"/>
          </a:solidFill>
          <a:latin typeface="+mn-lt"/>
          <a:ea typeface="+mn-ea"/>
          <a:cs typeface="+mn-cs"/>
          <a:sym typeface="+mn-lt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EF4F50"/>
        </a:buClr>
        <a:buFont typeface="Arial" panose="020B0604020202020204" pitchFamily="34" charset="0"/>
        <a:buChar char="​"/>
        <a:defRPr lang="en-US" sz="1600" b="1" kern="1200" smtClean="0">
          <a:solidFill>
            <a:srgbClr val="262626"/>
          </a:solidFill>
          <a:latin typeface="+mn-lt"/>
          <a:ea typeface="+mn-ea"/>
          <a:cs typeface="+mn-cs"/>
          <a:sym typeface="+mn-lt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EF4F50"/>
        </a:buClr>
        <a:buFont typeface="Arial" panose="020B0604020202020204" pitchFamily="34" charset="0"/>
        <a:buChar char="•"/>
        <a:defRPr lang="en-US" sz="1600" kern="1200" smtClean="0">
          <a:solidFill>
            <a:srgbClr val="262626"/>
          </a:solidFill>
          <a:latin typeface="+mn-lt"/>
          <a:ea typeface="+mn-ea"/>
          <a:cs typeface="+mn-cs"/>
          <a:sym typeface="+mn-lt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EF4F50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262626"/>
          </a:solidFill>
          <a:latin typeface="+mn-lt"/>
          <a:ea typeface="+mn-ea"/>
          <a:cs typeface="+mn-cs"/>
          <a:sym typeface="+mn-lt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EF4F50"/>
        </a:buClr>
        <a:buFont typeface="Arial" panose="020B0604020202020204" pitchFamily="34" charset="0"/>
        <a:buChar char="​"/>
        <a:defRPr lang="en-US" sz="5400" kern="1200" baseline="0" smtClean="0">
          <a:solidFill>
            <a:srgbClr val="EF4F50"/>
          </a:solidFill>
          <a:latin typeface="+mn-lt"/>
          <a:ea typeface="+mn-ea"/>
          <a:cs typeface="+mn-cs"/>
          <a:sym typeface="+mn-lt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EF4F50"/>
        </a:buClr>
        <a:buFont typeface="Arial" panose="020B0604020202020204" pitchFamily="34" charset="0"/>
        <a:buChar char="​"/>
        <a:defRPr lang="en-US" sz="2400" kern="1200" baseline="0" dirty="0">
          <a:solidFill>
            <a:srgbClr val="EF4F50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 hidden="1"/>
          <p:cNvSpPr/>
          <p:nvPr userDrawn="1">
            <p:custDataLst>
              <p:tags r:id="rId7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18826308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7" r:id="rId1"/>
    <p:sldLayoutId id="2147484018" r:id="rId2"/>
    <p:sldLayoutId id="2147484019" r:id="rId3"/>
    <p:sldLayoutId id="2147484020" r:id="rId4"/>
    <p:sldLayoutId id="2147484021" r:id="rId5"/>
    <p:sldLayoutId id="2147484022" r:id="rId6"/>
    <p:sldLayoutId id="2147484023" r:id="rId7"/>
    <p:sldLayoutId id="2147484024" r:id="rId8"/>
    <p:sldLayoutId id="2147484025" r:id="rId9"/>
    <p:sldLayoutId id="2147484026" r:id="rId10"/>
    <p:sldLayoutId id="2147484027" r:id="rId11"/>
    <p:sldLayoutId id="2147484028" r:id="rId12"/>
    <p:sldLayoutId id="2147484029" r:id="rId13"/>
    <p:sldLayoutId id="2147484030" r:id="rId14"/>
    <p:sldLayoutId id="2147484031" r:id="rId15"/>
    <p:sldLayoutId id="2147484032" r:id="rId16"/>
    <p:sldLayoutId id="2147484033" r:id="rId17"/>
    <p:sldLayoutId id="2147484034" r:id="rId18"/>
    <p:sldLayoutId id="2147484035" r:id="rId19"/>
    <p:sldLayoutId id="2147484036" r:id="rId20"/>
    <p:sldLayoutId id="2147484037" r:id="rId21"/>
    <p:sldLayoutId id="2147484038" r:id="rId22"/>
    <p:sldLayoutId id="2147484039" r:id="rId23"/>
    <p:sldLayoutId id="2147484040" r:id="rId24"/>
    <p:sldLayoutId id="2147484041" r:id="rId25"/>
    <p:sldLayoutId id="2147484042" r:id="rId26"/>
    <p:sldLayoutId id="2147484043" r:id="rId27"/>
    <p:sldLayoutId id="2147484044" r:id="rId28"/>
    <p:sldLayoutId id="2147484045" r:id="rId29"/>
    <p:sldLayoutId id="2147484046" r:id="rId30"/>
    <p:sldLayoutId id="2147484047" r:id="rId31"/>
    <p:sldLayoutId id="2147484048" r:id="rId32"/>
    <p:sldLayoutId id="2147484049" r:id="rId33"/>
    <p:sldLayoutId id="2147484050" r:id="rId34"/>
    <p:sldLayoutId id="2147484051" r:id="rId35"/>
    <p:sldLayoutId id="2147484052" r:id="rId36"/>
    <p:sldLayoutId id="2147484053" r:id="rId37"/>
    <p:sldLayoutId id="2147484054" r:id="rId38"/>
    <p:sldLayoutId id="2147484055" r:id="rId39"/>
    <p:sldLayoutId id="2147484056" r:id="rId40"/>
    <p:sldLayoutId id="2147484057" r:id="rId41"/>
    <p:sldLayoutId id="2147484058" r:id="rId42"/>
    <p:sldLayoutId id="2147484059" r:id="rId43"/>
    <p:sldLayoutId id="2147484060" r:id="rId44"/>
    <p:sldLayoutId id="2147484061" r:id="rId45"/>
    <p:sldLayoutId id="2147484062" r:id="rId46"/>
    <p:sldLayoutId id="2147484063" r:id="rId47"/>
    <p:sldLayoutId id="2147484064" r:id="rId48"/>
    <p:sldLayoutId id="2147484065" r:id="rId49"/>
    <p:sldLayoutId id="2147484066" r:id="rId50"/>
    <p:sldLayoutId id="2147484067" r:id="rId51"/>
    <p:sldLayoutId id="2147484068" r:id="rId52"/>
    <p:sldLayoutId id="2147484069" r:id="rId53"/>
    <p:sldLayoutId id="2147484070" r:id="rId54"/>
    <p:sldLayoutId id="2147484071" r:id="rId55"/>
    <p:sldLayoutId id="2147484072" r:id="rId56"/>
    <p:sldLayoutId id="2147484073" r:id="rId57"/>
    <p:sldLayoutId id="2147484074" r:id="rId58"/>
    <p:sldLayoutId id="2147484075" r:id="rId59"/>
    <p:sldLayoutId id="2147484076" r:id="rId60"/>
    <p:sldLayoutId id="2147484077" r:id="rId61"/>
    <p:sldLayoutId id="2147484078" r:id="rId62"/>
    <p:sldLayoutId id="2147484079" r:id="rId63"/>
    <p:sldLayoutId id="2147484080" r:id="rId64"/>
    <p:sldLayoutId id="2147484081" r:id="rId65"/>
    <p:sldLayoutId id="2147484082" r:id="rId66"/>
    <p:sldLayoutId id="2147484083" r:id="rId67"/>
    <p:sldLayoutId id="2147484084" r:id="rId68"/>
    <p:sldLayoutId id="2147484085" r:id="rId69"/>
    <p:sldLayoutId id="2147484086" r:id="rId70"/>
    <p:sldLayoutId id="2147484087" r:id="rId7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EF4F50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EF4F50"/>
        </a:buClr>
        <a:buFont typeface="Arial" panose="020B0604020202020204" pitchFamily="34" charset="0"/>
        <a:buChar char="​"/>
        <a:defRPr lang="en-US" sz="1200" kern="1200">
          <a:solidFill>
            <a:srgbClr val="262626"/>
          </a:solidFill>
          <a:latin typeface="+mn-lt"/>
          <a:ea typeface="+mn-ea"/>
          <a:cs typeface="+mn-cs"/>
          <a:sym typeface="+mn-lt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EF4F50"/>
        </a:buClr>
        <a:buFont typeface="Arial" panose="020B0604020202020204" pitchFamily="34" charset="0"/>
        <a:buChar char="•"/>
        <a:defRPr lang="en-US" sz="1200" kern="1200">
          <a:solidFill>
            <a:srgbClr val="262626"/>
          </a:solidFill>
          <a:latin typeface="+mn-lt"/>
          <a:ea typeface="+mn-ea"/>
          <a:cs typeface="+mn-cs"/>
          <a:sym typeface="+mn-lt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EF4F50"/>
        </a:buClr>
        <a:buFont typeface="Trebuchet MS" panose="020B0603020202020204" pitchFamily="34" charset="0"/>
        <a:buChar char="–"/>
        <a:defRPr lang="en-US" sz="1200" kern="1200">
          <a:solidFill>
            <a:srgbClr val="262626"/>
          </a:solidFill>
          <a:latin typeface="+mn-lt"/>
          <a:ea typeface="+mn-ea"/>
          <a:cs typeface="+mn-cs"/>
          <a:sym typeface="+mn-lt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EF4F50"/>
        </a:buClr>
        <a:buFont typeface="Arial" panose="020B0604020202020204" pitchFamily="34" charset="0"/>
        <a:buChar char="​"/>
        <a:defRPr lang="en-US" sz="1600" kern="1200">
          <a:solidFill>
            <a:srgbClr val="EF4F50"/>
          </a:solidFill>
          <a:latin typeface="+mn-lt"/>
          <a:ea typeface="+mn-ea"/>
          <a:cs typeface="+mn-cs"/>
          <a:sym typeface="+mn-lt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EF4F50"/>
        </a:buClr>
        <a:buFont typeface="Arial" panose="020B0604020202020204" pitchFamily="34" charset="0"/>
        <a:buChar char="​"/>
        <a:defRPr lang="en-US" sz="1600" b="1" kern="1200" smtClean="0">
          <a:solidFill>
            <a:srgbClr val="262626"/>
          </a:solidFill>
          <a:latin typeface="+mn-lt"/>
          <a:ea typeface="+mn-ea"/>
          <a:cs typeface="+mn-cs"/>
          <a:sym typeface="+mn-lt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EF4F50"/>
        </a:buClr>
        <a:buFont typeface="Arial" panose="020B0604020202020204" pitchFamily="34" charset="0"/>
        <a:buChar char="•"/>
        <a:defRPr lang="en-US" sz="1600" kern="1200" smtClean="0">
          <a:solidFill>
            <a:srgbClr val="262626"/>
          </a:solidFill>
          <a:latin typeface="+mn-lt"/>
          <a:ea typeface="+mn-ea"/>
          <a:cs typeface="+mn-cs"/>
          <a:sym typeface="+mn-lt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EF4F50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262626"/>
          </a:solidFill>
          <a:latin typeface="+mn-lt"/>
          <a:ea typeface="+mn-ea"/>
          <a:cs typeface="+mn-cs"/>
          <a:sym typeface="+mn-lt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EF4F50"/>
        </a:buClr>
        <a:buFont typeface="Arial" panose="020B0604020202020204" pitchFamily="34" charset="0"/>
        <a:buChar char="​"/>
        <a:defRPr lang="en-US" sz="5400" kern="1200" baseline="0" smtClean="0">
          <a:solidFill>
            <a:srgbClr val="EF4F50"/>
          </a:solidFill>
          <a:latin typeface="+mn-lt"/>
          <a:ea typeface="+mn-ea"/>
          <a:cs typeface="+mn-cs"/>
          <a:sym typeface="+mn-lt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EF4F50"/>
        </a:buClr>
        <a:buFont typeface="Arial" panose="020B0604020202020204" pitchFamily="34" charset="0"/>
        <a:buChar char="​"/>
        <a:defRPr lang="en-US" sz="2400" kern="1200" baseline="0" dirty="0">
          <a:solidFill>
            <a:srgbClr val="EF4F50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 hidden="1"/>
          <p:cNvSpPr/>
          <p:nvPr userDrawn="1">
            <p:custDataLst>
              <p:tags r:id="rId7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12639506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1" r:id="rId1"/>
    <p:sldLayoutId id="2147484252" r:id="rId2"/>
    <p:sldLayoutId id="2147484253" r:id="rId3"/>
    <p:sldLayoutId id="2147484254" r:id="rId4"/>
    <p:sldLayoutId id="2147484255" r:id="rId5"/>
    <p:sldLayoutId id="2147484256" r:id="rId6"/>
    <p:sldLayoutId id="2147484257" r:id="rId7"/>
    <p:sldLayoutId id="2147484258" r:id="rId8"/>
    <p:sldLayoutId id="2147484259" r:id="rId9"/>
    <p:sldLayoutId id="2147484260" r:id="rId10"/>
    <p:sldLayoutId id="2147484261" r:id="rId11"/>
    <p:sldLayoutId id="2147484262" r:id="rId12"/>
    <p:sldLayoutId id="2147484263" r:id="rId13"/>
    <p:sldLayoutId id="2147484264" r:id="rId14"/>
    <p:sldLayoutId id="2147484265" r:id="rId15"/>
    <p:sldLayoutId id="2147484266" r:id="rId16"/>
    <p:sldLayoutId id="2147484267" r:id="rId17"/>
    <p:sldLayoutId id="2147484268" r:id="rId18"/>
    <p:sldLayoutId id="2147484269" r:id="rId19"/>
    <p:sldLayoutId id="2147484270" r:id="rId20"/>
    <p:sldLayoutId id="2147484271" r:id="rId21"/>
    <p:sldLayoutId id="2147484272" r:id="rId22"/>
    <p:sldLayoutId id="2147484273" r:id="rId23"/>
    <p:sldLayoutId id="2147484274" r:id="rId24"/>
    <p:sldLayoutId id="2147484275" r:id="rId25"/>
    <p:sldLayoutId id="2147484276" r:id="rId26"/>
    <p:sldLayoutId id="2147484277" r:id="rId27"/>
    <p:sldLayoutId id="2147484278" r:id="rId28"/>
    <p:sldLayoutId id="2147484279" r:id="rId29"/>
    <p:sldLayoutId id="2147484280" r:id="rId30"/>
    <p:sldLayoutId id="2147484281" r:id="rId31"/>
    <p:sldLayoutId id="2147484282" r:id="rId32"/>
    <p:sldLayoutId id="2147484283" r:id="rId33"/>
    <p:sldLayoutId id="2147484284" r:id="rId34"/>
    <p:sldLayoutId id="2147484285" r:id="rId35"/>
    <p:sldLayoutId id="2147484286" r:id="rId36"/>
    <p:sldLayoutId id="2147484287" r:id="rId37"/>
    <p:sldLayoutId id="2147484288" r:id="rId38"/>
    <p:sldLayoutId id="2147484289" r:id="rId39"/>
    <p:sldLayoutId id="2147484290" r:id="rId40"/>
    <p:sldLayoutId id="2147484291" r:id="rId41"/>
    <p:sldLayoutId id="2147484292" r:id="rId42"/>
    <p:sldLayoutId id="2147484293" r:id="rId43"/>
    <p:sldLayoutId id="2147484294" r:id="rId44"/>
    <p:sldLayoutId id="2147484295" r:id="rId45"/>
    <p:sldLayoutId id="2147484296" r:id="rId46"/>
    <p:sldLayoutId id="2147484297" r:id="rId47"/>
    <p:sldLayoutId id="2147484298" r:id="rId48"/>
    <p:sldLayoutId id="2147484299" r:id="rId49"/>
    <p:sldLayoutId id="2147484300" r:id="rId50"/>
    <p:sldLayoutId id="2147484301" r:id="rId51"/>
    <p:sldLayoutId id="2147484302" r:id="rId52"/>
    <p:sldLayoutId id="2147484303" r:id="rId53"/>
    <p:sldLayoutId id="2147484304" r:id="rId54"/>
    <p:sldLayoutId id="2147484305" r:id="rId55"/>
    <p:sldLayoutId id="2147484306" r:id="rId56"/>
    <p:sldLayoutId id="2147484307" r:id="rId57"/>
    <p:sldLayoutId id="2147484308" r:id="rId58"/>
    <p:sldLayoutId id="2147484309" r:id="rId59"/>
    <p:sldLayoutId id="2147484310" r:id="rId60"/>
    <p:sldLayoutId id="2147484311" r:id="rId61"/>
    <p:sldLayoutId id="2147484312" r:id="rId62"/>
    <p:sldLayoutId id="2147484313" r:id="rId63"/>
    <p:sldLayoutId id="2147484314" r:id="rId64"/>
    <p:sldLayoutId id="2147484315" r:id="rId65"/>
    <p:sldLayoutId id="2147484316" r:id="rId66"/>
    <p:sldLayoutId id="2147484317" r:id="rId67"/>
    <p:sldLayoutId id="2147484318" r:id="rId68"/>
    <p:sldLayoutId id="2147484319" r:id="rId69"/>
    <p:sldLayoutId id="2147484320" r:id="rId70"/>
    <p:sldLayoutId id="2147484321" r:id="rId7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EF4F50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EF4F50"/>
        </a:buClr>
        <a:buFont typeface="Arial" panose="020B0604020202020204" pitchFamily="34" charset="0"/>
        <a:buChar char="​"/>
        <a:defRPr lang="en-US" sz="1200" kern="1200">
          <a:solidFill>
            <a:srgbClr val="262626"/>
          </a:solidFill>
          <a:latin typeface="+mn-lt"/>
          <a:ea typeface="+mn-ea"/>
          <a:cs typeface="+mn-cs"/>
          <a:sym typeface="+mn-lt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EF4F50"/>
        </a:buClr>
        <a:buFont typeface="Arial" panose="020B0604020202020204" pitchFamily="34" charset="0"/>
        <a:buChar char="•"/>
        <a:defRPr lang="en-US" sz="1200" kern="1200">
          <a:solidFill>
            <a:srgbClr val="262626"/>
          </a:solidFill>
          <a:latin typeface="+mn-lt"/>
          <a:ea typeface="+mn-ea"/>
          <a:cs typeface="+mn-cs"/>
          <a:sym typeface="+mn-lt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EF4F50"/>
        </a:buClr>
        <a:buFont typeface="Trebuchet MS" panose="020B0603020202020204" pitchFamily="34" charset="0"/>
        <a:buChar char="–"/>
        <a:defRPr lang="en-US" sz="1200" kern="1200">
          <a:solidFill>
            <a:srgbClr val="262626"/>
          </a:solidFill>
          <a:latin typeface="+mn-lt"/>
          <a:ea typeface="+mn-ea"/>
          <a:cs typeface="+mn-cs"/>
          <a:sym typeface="+mn-lt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EF4F50"/>
        </a:buClr>
        <a:buFont typeface="Arial" panose="020B0604020202020204" pitchFamily="34" charset="0"/>
        <a:buChar char="​"/>
        <a:defRPr lang="en-US" sz="1600" kern="1200">
          <a:solidFill>
            <a:srgbClr val="EF4F50"/>
          </a:solidFill>
          <a:latin typeface="+mn-lt"/>
          <a:ea typeface="+mn-ea"/>
          <a:cs typeface="+mn-cs"/>
          <a:sym typeface="+mn-lt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EF4F50"/>
        </a:buClr>
        <a:buFont typeface="Arial" panose="020B0604020202020204" pitchFamily="34" charset="0"/>
        <a:buChar char="​"/>
        <a:defRPr lang="en-US" sz="1600" b="1" kern="1200" smtClean="0">
          <a:solidFill>
            <a:srgbClr val="262626"/>
          </a:solidFill>
          <a:latin typeface="+mn-lt"/>
          <a:ea typeface="+mn-ea"/>
          <a:cs typeface="+mn-cs"/>
          <a:sym typeface="+mn-lt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EF4F50"/>
        </a:buClr>
        <a:buFont typeface="Arial" panose="020B0604020202020204" pitchFamily="34" charset="0"/>
        <a:buChar char="•"/>
        <a:defRPr lang="en-US" sz="1600" kern="1200" smtClean="0">
          <a:solidFill>
            <a:srgbClr val="262626"/>
          </a:solidFill>
          <a:latin typeface="+mn-lt"/>
          <a:ea typeface="+mn-ea"/>
          <a:cs typeface="+mn-cs"/>
          <a:sym typeface="+mn-lt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EF4F50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262626"/>
          </a:solidFill>
          <a:latin typeface="+mn-lt"/>
          <a:ea typeface="+mn-ea"/>
          <a:cs typeface="+mn-cs"/>
          <a:sym typeface="+mn-lt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EF4F50"/>
        </a:buClr>
        <a:buFont typeface="Arial" panose="020B0604020202020204" pitchFamily="34" charset="0"/>
        <a:buChar char="​"/>
        <a:defRPr lang="en-US" sz="5400" kern="1200" baseline="0" smtClean="0">
          <a:solidFill>
            <a:srgbClr val="EF4F50"/>
          </a:solidFill>
          <a:latin typeface="+mn-lt"/>
          <a:ea typeface="+mn-ea"/>
          <a:cs typeface="+mn-cs"/>
          <a:sym typeface="+mn-lt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EF4F50"/>
        </a:buClr>
        <a:buFont typeface="Arial" panose="020B0604020202020204" pitchFamily="34" charset="0"/>
        <a:buChar char="​"/>
        <a:defRPr lang="en-US" sz="2400" kern="1200" baseline="0" dirty="0">
          <a:solidFill>
            <a:srgbClr val="EF4F50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 hidden="1"/>
          <p:cNvSpPr/>
          <p:nvPr userDrawn="1">
            <p:custDataLst>
              <p:tags r:id="rId7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4F50"/>
          </a:solidFill>
          <a:ln w="9525" cap="rnd" cmpd="sng" algn="ctr">
            <a:solidFill>
              <a:srgbClr val="EF4F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5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835336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15" r:id="rId1"/>
    <p:sldLayoutId id="2147485185" r:id="rId2"/>
    <p:sldLayoutId id="2147485086" r:id="rId3"/>
    <p:sldLayoutId id="2147485183" r:id="rId4"/>
    <p:sldLayoutId id="2147485158" r:id="rId5"/>
    <p:sldLayoutId id="2147485113" r:id="rId6"/>
    <p:sldLayoutId id="2147485114" r:id="rId7"/>
    <p:sldLayoutId id="2147485154" r:id="rId8"/>
    <p:sldLayoutId id="2147485162" r:id="rId9"/>
    <p:sldLayoutId id="2147485149" r:id="rId10"/>
    <p:sldLayoutId id="2147485087" r:id="rId11"/>
    <p:sldLayoutId id="2147485112" r:id="rId12"/>
    <p:sldLayoutId id="2147485155" r:id="rId13"/>
    <p:sldLayoutId id="2147485164" r:id="rId14"/>
    <p:sldLayoutId id="2147485109" r:id="rId15"/>
    <p:sldLayoutId id="2147485165" r:id="rId16"/>
    <p:sldLayoutId id="2147485110" r:id="rId17"/>
    <p:sldLayoutId id="2147485166" r:id="rId18"/>
    <p:sldLayoutId id="2147485156" r:id="rId19"/>
    <p:sldLayoutId id="2147485167" r:id="rId20"/>
    <p:sldLayoutId id="2147485108" r:id="rId21"/>
    <p:sldLayoutId id="2147485107" r:id="rId22"/>
    <p:sldLayoutId id="2147485106" r:id="rId23"/>
    <p:sldLayoutId id="2147485090" r:id="rId24"/>
    <p:sldLayoutId id="2147485091" r:id="rId25"/>
    <p:sldLayoutId id="2147485092" r:id="rId26"/>
    <p:sldLayoutId id="2147485093" r:id="rId27"/>
    <p:sldLayoutId id="2147485116" r:id="rId28"/>
    <p:sldLayoutId id="2147485186" r:id="rId29"/>
    <p:sldLayoutId id="2147485161" r:id="rId30"/>
    <p:sldLayoutId id="2147485159" r:id="rId31"/>
    <p:sldLayoutId id="2147485187" r:id="rId32"/>
    <p:sldLayoutId id="2147485119" r:id="rId33"/>
    <p:sldLayoutId id="2147485184" r:id="rId34"/>
    <p:sldLayoutId id="2147485137" r:id="rId35"/>
    <p:sldLayoutId id="2147485120" r:id="rId36"/>
    <p:sldLayoutId id="2147485121" r:id="rId37"/>
    <p:sldLayoutId id="2147485141" r:id="rId38"/>
    <p:sldLayoutId id="2147485163" r:id="rId39"/>
    <p:sldLayoutId id="2147485139" r:id="rId40"/>
    <p:sldLayoutId id="2147485140" r:id="rId41"/>
    <p:sldLayoutId id="2147485122" r:id="rId42"/>
    <p:sldLayoutId id="2147485123" r:id="rId43"/>
    <p:sldLayoutId id="2147485151" r:id="rId44"/>
    <p:sldLayoutId id="2147485168" r:id="rId45"/>
    <p:sldLayoutId id="2147485127" r:id="rId46"/>
    <p:sldLayoutId id="2147485169" r:id="rId47"/>
    <p:sldLayoutId id="2147485126" r:id="rId48"/>
    <p:sldLayoutId id="2147485170" r:id="rId49"/>
    <p:sldLayoutId id="2147485153" r:id="rId50"/>
    <p:sldLayoutId id="2147485171" r:id="rId51"/>
    <p:sldLayoutId id="2147485128" r:id="rId52"/>
    <p:sldLayoutId id="2147485129" r:id="rId53"/>
    <p:sldLayoutId id="2147485130" r:id="rId54"/>
    <p:sldLayoutId id="2147485131" r:id="rId55"/>
    <p:sldLayoutId id="2147485145" r:id="rId56"/>
    <p:sldLayoutId id="2147485133" r:id="rId57"/>
    <p:sldLayoutId id="2147485144" r:id="rId58"/>
    <p:sldLayoutId id="2147485134" r:id="rId59"/>
    <p:sldLayoutId id="2147485146" r:id="rId60"/>
    <p:sldLayoutId id="2147485188" r:id="rId61"/>
    <p:sldLayoutId id="2147485160" r:id="rId62"/>
    <p:sldLayoutId id="2147485172" r:id="rId63"/>
    <p:sldLayoutId id="2147485173" r:id="rId64"/>
    <p:sldLayoutId id="2147485174" r:id="rId65"/>
    <p:sldLayoutId id="2147485175" r:id="rId66"/>
    <p:sldLayoutId id="2147485176" r:id="rId67"/>
    <p:sldLayoutId id="2147485177" r:id="rId68"/>
    <p:sldLayoutId id="2147485178" r:id="rId69"/>
    <p:sldLayoutId id="2147485179" r:id="rId70"/>
    <p:sldLayoutId id="2147485180" r:id="rId7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EF4F50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EF4F50"/>
        </a:buClr>
        <a:buFont typeface="Arial" panose="020B0604020202020204" pitchFamily="34" charset="0"/>
        <a:buChar char="​"/>
        <a:defRPr lang="en-US" sz="1200" kern="1200">
          <a:solidFill>
            <a:srgbClr val="262626"/>
          </a:solidFill>
          <a:latin typeface="+mn-lt"/>
          <a:ea typeface="+mn-ea"/>
          <a:cs typeface="+mn-cs"/>
          <a:sym typeface="+mn-lt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EF4F50"/>
        </a:buClr>
        <a:buFont typeface="Arial" panose="020B0604020202020204" pitchFamily="34" charset="0"/>
        <a:buChar char="•"/>
        <a:defRPr lang="en-US" sz="1200" kern="1200">
          <a:solidFill>
            <a:srgbClr val="262626"/>
          </a:solidFill>
          <a:latin typeface="+mn-lt"/>
          <a:ea typeface="+mn-ea"/>
          <a:cs typeface="+mn-cs"/>
          <a:sym typeface="+mn-lt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EF4F50"/>
        </a:buClr>
        <a:buFont typeface="Trebuchet MS" panose="020B0603020202020204" pitchFamily="34" charset="0"/>
        <a:buChar char="–"/>
        <a:defRPr lang="en-US" sz="1200" kern="1200">
          <a:solidFill>
            <a:srgbClr val="262626"/>
          </a:solidFill>
          <a:latin typeface="+mn-lt"/>
          <a:ea typeface="+mn-ea"/>
          <a:cs typeface="+mn-cs"/>
          <a:sym typeface="+mn-lt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EF4F50"/>
        </a:buClr>
        <a:buFont typeface="Arial" panose="020B0604020202020204" pitchFamily="34" charset="0"/>
        <a:buChar char="​"/>
        <a:defRPr lang="en-US" sz="1600" kern="1200">
          <a:solidFill>
            <a:srgbClr val="EF4F50"/>
          </a:solidFill>
          <a:latin typeface="+mn-lt"/>
          <a:ea typeface="+mn-ea"/>
          <a:cs typeface="+mn-cs"/>
          <a:sym typeface="+mn-lt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EF4F50"/>
        </a:buClr>
        <a:buFont typeface="Arial" panose="020B0604020202020204" pitchFamily="34" charset="0"/>
        <a:buChar char="​"/>
        <a:defRPr lang="en-US" sz="1600" b="1" kern="1200" smtClean="0">
          <a:solidFill>
            <a:srgbClr val="262626"/>
          </a:solidFill>
          <a:latin typeface="+mn-lt"/>
          <a:ea typeface="+mn-ea"/>
          <a:cs typeface="+mn-cs"/>
          <a:sym typeface="+mn-lt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EF4F50"/>
        </a:buClr>
        <a:buFont typeface="Arial" panose="020B0604020202020204" pitchFamily="34" charset="0"/>
        <a:buChar char="•"/>
        <a:defRPr lang="en-US" sz="1600" kern="1200" smtClean="0">
          <a:solidFill>
            <a:srgbClr val="262626"/>
          </a:solidFill>
          <a:latin typeface="+mn-lt"/>
          <a:ea typeface="+mn-ea"/>
          <a:cs typeface="+mn-cs"/>
          <a:sym typeface="+mn-lt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EF4F50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262626"/>
          </a:solidFill>
          <a:latin typeface="+mn-lt"/>
          <a:ea typeface="+mn-ea"/>
          <a:cs typeface="+mn-cs"/>
          <a:sym typeface="+mn-lt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EF4F50"/>
        </a:buClr>
        <a:buFont typeface="Arial" panose="020B0604020202020204" pitchFamily="34" charset="0"/>
        <a:buChar char="​"/>
        <a:defRPr lang="en-US" sz="5400" kern="1200" baseline="0" smtClean="0">
          <a:solidFill>
            <a:srgbClr val="EF4F50"/>
          </a:solidFill>
          <a:latin typeface="+mn-lt"/>
          <a:ea typeface="+mn-ea"/>
          <a:cs typeface="+mn-cs"/>
          <a:sym typeface="+mn-lt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EF4F50"/>
        </a:buClr>
        <a:buFont typeface="Arial" panose="020B0604020202020204" pitchFamily="34" charset="0"/>
        <a:buChar char="​"/>
        <a:defRPr lang="en-US" sz="2400" kern="1200" baseline="0" dirty="0">
          <a:solidFill>
            <a:srgbClr val="EF4F50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 userDrawn="1">
          <p15:clr>
            <a:srgbClr val="F26B43"/>
          </p15:clr>
        </p15:guide>
        <p15:guide id="2" pos="396" userDrawn="1">
          <p15:clr>
            <a:srgbClr val="F26B43"/>
          </p15:clr>
        </p15:guide>
        <p15:guide id="3" pos="7284" userDrawn="1">
          <p15:clr>
            <a:srgbClr val="F26B43"/>
          </p15:clr>
        </p15:guide>
        <p15:guide id="4" orient="horz" pos="388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1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425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41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svg"/><Relationship Id="rId3" Type="http://schemas.openxmlformats.org/officeDocument/2006/relationships/diagramLayout" Target="../diagrams/layout1.xml"/><Relationship Id="rId7" Type="http://schemas.openxmlformats.org/officeDocument/2006/relationships/image" Target="../media/image33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1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425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425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9050" y="2514600"/>
            <a:ext cx="59436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ar-AE" sz="3200" b="1" dirty="0">
                <a:solidFill>
                  <a:prstClr val="black">
                    <a:lumMod val="85000"/>
                    <a:lumOff val="15000"/>
                  </a:prstClr>
                </a:solidFill>
                <a:latin typeface="Dubai" panose="020B0503030403030204" pitchFamily="34" charset="-78"/>
                <a:ea typeface="Tahoma" panose="020B0604030504040204" pitchFamily="34" charset="0"/>
                <a:cs typeface="Dubai" panose="020B0503030403030204" pitchFamily="34" charset="-78"/>
              </a:rPr>
              <a:t>Course e-Portfolio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7D27FC0-B18A-46B4-A9A0-B0AFF0D8ECE7}"/>
              </a:ext>
            </a:extLst>
          </p:cNvPr>
          <p:cNvSpPr txBox="1"/>
          <p:nvPr/>
        </p:nvSpPr>
        <p:spPr>
          <a:xfrm>
            <a:off x="381000" y="4876800"/>
            <a:ext cx="51054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ar-AE" sz="1400" dirty="0">
                <a:solidFill>
                  <a:prstClr val="black">
                    <a:lumMod val="85000"/>
                    <a:lumOff val="15000"/>
                  </a:prstClr>
                </a:solidFill>
                <a:latin typeface="Dubai" panose="020B0503030403030204" pitchFamily="34" charset="-78"/>
                <a:ea typeface="Tahoma" panose="020B0604030504040204" pitchFamily="34" charset="0"/>
                <a:cs typeface="Dubai" panose="020B0503030403030204" pitchFamily="34" charset="-78"/>
              </a:rPr>
              <a:t>Prof. Walid Ibrahi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ar-AE" sz="140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ubai" panose="020B0503030403030204" pitchFamily="34" charset="-78"/>
                <a:ea typeface="Tahoma" panose="020B0604030504040204" pitchFamily="34" charset="0"/>
                <a:cs typeface="Dubai" panose="020B0503030403030204" pitchFamily="34" charset="-78"/>
              </a:rPr>
              <a:t>Head, Learning Outcomes Assessment Unit</a:t>
            </a:r>
          </a:p>
        </p:txBody>
      </p:sp>
    </p:spTree>
    <p:extLst>
      <p:ext uri="{BB962C8B-B14F-4D97-AF65-F5344CB8AC3E}">
        <p14:creationId xmlns:p14="http://schemas.microsoft.com/office/powerpoint/2010/main" val="3594373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B2AA8A-9142-9F1E-D68E-11AB597FC8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curity and Privacy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4F175221-B322-51AD-CE09-32536FA1A113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276388436"/>
              </p:ext>
            </p:extLst>
          </p:nvPr>
        </p:nvGraphicFramePr>
        <p:xfrm>
          <a:off x="839788" y="1143001"/>
          <a:ext cx="10514012" cy="4724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917011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348835-4176-81D8-4B2A-E80B55740F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</a:t>
            </a:r>
            <a:endParaRPr lang="en-AE" dirty="0"/>
          </a:p>
        </p:txBody>
      </p:sp>
      <p:pic>
        <p:nvPicPr>
          <p:cNvPr id="4" name="Picture 4" descr="Thank you silver writing">
            <a:extLst>
              <a:ext uri="{FF2B5EF4-FFF2-40B4-BE49-F238E27FC236}">
                <a16:creationId xmlns:a16="http://schemas.microsoft.com/office/drawing/2014/main" id="{2DE89570-B185-4B34-D185-76DFE8572A83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4715"/>
            <a:ext cx="12191999" cy="6862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667177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E01378-FB7A-D315-D4CB-224508B301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4672" y="802956"/>
            <a:ext cx="4977976" cy="826134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914400"/>
            <a:r>
              <a:rPr lang="en-US" kern="1200" dirty="0">
                <a:solidFill>
                  <a:schemeClr val="tx2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Outline</a:t>
            </a:r>
          </a:p>
        </p:txBody>
      </p:sp>
      <p:graphicFrame>
        <p:nvGraphicFramePr>
          <p:cNvPr id="20" name="Content Placeholder 2">
            <a:extLst>
              <a:ext uri="{FF2B5EF4-FFF2-40B4-BE49-F238E27FC236}">
                <a16:creationId xmlns:a16="http://schemas.microsoft.com/office/drawing/2014/main" id="{24C73A1F-9254-B3E1-DEF4-0C491D391E4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24615170"/>
              </p:ext>
            </p:extLst>
          </p:nvPr>
        </p:nvGraphicFramePr>
        <p:xfrm>
          <a:off x="804672" y="1905000"/>
          <a:ext cx="6662928" cy="4267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7" name="Graphic 6" descr="Open Folder">
            <a:extLst>
              <a:ext uri="{FF2B5EF4-FFF2-40B4-BE49-F238E27FC236}">
                <a16:creationId xmlns:a16="http://schemas.microsoft.com/office/drawing/2014/main" id="{5D90A0D0-4504-F8A5-C324-3721C421FE6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121726" y="1629089"/>
            <a:ext cx="3620021" cy="3620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1884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F29B47-64E2-429E-19AA-6839EF2CAF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A Course File (Annex 16)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3F9C0391-0601-A96D-72AA-90F9FF7BD996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1614826165"/>
              </p:ext>
            </p:extLst>
          </p:nvPr>
        </p:nvGraphicFramePr>
        <p:xfrm>
          <a:off x="838994" y="1066800"/>
          <a:ext cx="10514012" cy="4953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074877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06136D-5EDC-9B6D-65CD-5DB9BC83E3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A Course File (Annex 16)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C49D5593-4F51-7B1A-2FB7-AFC5EB5EA0CD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150001696"/>
              </p:ext>
            </p:extLst>
          </p:nvPr>
        </p:nvGraphicFramePr>
        <p:xfrm>
          <a:off x="839788" y="1143000"/>
          <a:ext cx="10514012" cy="50466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763491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A7CDF0-8A95-DCAD-CA43-89A79EA7D5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5">
                    <a:lumMod val="50000"/>
                  </a:schemeClr>
                </a:solidFill>
              </a:rPr>
              <a:t>E-Portfolio Directory Structure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463349-16BC-1CF4-9BF8-6A80A41EEA74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228623" indent="-228600" algn="just">
              <a:lnSpc>
                <a:spcPct val="80000"/>
              </a:lnSpc>
              <a:buFont typeface="Wingdings" panose="05000000000000000000" pitchFamily="2" charset="2"/>
              <a:buChar char=""/>
              <a:tabLst>
                <a:tab pos="914400" algn="l"/>
                <a:tab pos="1600200" algn="l"/>
              </a:tabLst>
            </a:pPr>
            <a:r>
              <a:rPr lang="en-US" sz="2000" b="1" dirty="0">
                <a:solidFill>
                  <a:srgbClr val="C0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Syllabus 						(C1) </a:t>
            </a:r>
          </a:p>
          <a:p>
            <a:pPr marL="742950" lvl="1" indent="-285750" algn="just" rtl="0">
              <a:buFont typeface="Wingdings" panose="05000000000000000000" pitchFamily="2" charset="2"/>
              <a:buChar char=""/>
            </a:pPr>
            <a: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Fall 2021</a:t>
            </a:r>
          </a:p>
          <a:p>
            <a:pPr marL="1257277" lvl="2" indent="-342900" algn="just">
              <a:buFont typeface="Wingdings" panose="05000000000000000000" pitchFamily="2" charset="2"/>
              <a:buChar char=""/>
              <a:tabLst>
                <a:tab pos="457200" algn="l"/>
              </a:tabLst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ction 51 (Dr. Mohammed Youssef)</a:t>
            </a:r>
          </a:p>
          <a:p>
            <a:pPr marL="1257277" lvl="2" indent="-342900" algn="just">
              <a:buFont typeface="Wingdings" panose="05000000000000000000" pitchFamily="2" charset="2"/>
              <a:buChar char=""/>
              <a:tabLst>
                <a:tab pos="457200" algn="l"/>
              </a:tabLst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ction 52 (Faculty name)</a:t>
            </a:r>
          </a:p>
          <a:p>
            <a:pPr marL="1257277" lvl="2" indent="-342900" algn="just">
              <a:buFont typeface="Wingdings" panose="05000000000000000000" pitchFamily="2" charset="2"/>
              <a:buChar char=""/>
              <a:tabLst>
                <a:tab pos="457200" algn="l"/>
              </a:tabLst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ction 01 (Faculty name)</a:t>
            </a:r>
          </a:p>
          <a:p>
            <a:pPr marL="457212" lvl="1" indent="0" algn="just">
              <a:buNone/>
              <a:tabLst>
                <a:tab pos="914400" algn="l"/>
              </a:tabLst>
            </a:pP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28623" indent="-228600" algn="just">
              <a:lnSpc>
                <a:spcPct val="80000"/>
              </a:lnSpc>
              <a:buFont typeface="Wingdings" panose="05000000000000000000" pitchFamily="2" charset="2"/>
              <a:buChar char=""/>
              <a:tabLst>
                <a:tab pos="914400" algn="l"/>
                <a:tab pos="1600200" algn="l"/>
              </a:tabLst>
            </a:pPr>
            <a:r>
              <a:rPr lang="en-US" sz="2000" b="1" dirty="0">
                <a:solidFill>
                  <a:srgbClr val="C0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Teaching Materials 				(C2) </a:t>
            </a:r>
          </a:p>
          <a:p>
            <a:pPr marL="685823" lvl="1" indent="-228600" algn="just">
              <a:buFont typeface="Wingdings" panose="05000000000000000000" pitchFamily="2" charset="2"/>
              <a:buChar char=""/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Lecture Notes</a:t>
            </a:r>
          </a:p>
          <a:p>
            <a:pPr marL="685823" lvl="1" indent="-228600" algn="just">
              <a:buFont typeface="Wingdings" panose="05000000000000000000" pitchFamily="2" charset="2"/>
              <a:buChar char=""/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Labs</a:t>
            </a:r>
          </a:p>
          <a:p>
            <a:pPr marL="685823" lvl="1" indent="-228600" algn="just">
              <a:buFont typeface="Wingdings" panose="05000000000000000000" pitchFamily="2" charset="2"/>
              <a:buChar char=""/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Handouts</a:t>
            </a:r>
          </a:p>
          <a:p>
            <a:pPr marL="685823" lvl="1" indent="-228600" algn="just">
              <a:buFont typeface="Wingdings" panose="05000000000000000000" pitchFamily="2" charset="2"/>
              <a:buChar char=""/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Video/audio</a:t>
            </a:r>
          </a:p>
          <a:p>
            <a:pPr marL="685823" lvl="1" indent="-228600" algn="just">
              <a:buFont typeface="Wingdings" panose="05000000000000000000" pitchFamily="2" charset="2"/>
              <a:buChar char=""/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Other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4090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8DB23F-8C1F-62C8-0D3B-CE2CCF90B8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5">
                    <a:lumMod val="50000"/>
                  </a:schemeClr>
                </a:solidFill>
              </a:rPr>
              <a:t>E-Portfolio Directory Structure 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8E931F-3FDC-9BDB-57B3-23318F03A51E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 fontScale="92500" lnSpcReduction="20000"/>
          </a:bodyPr>
          <a:lstStyle/>
          <a:p>
            <a:pPr marL="228623" indent="-228600" algn="just">
              <a:buFont typeface="Wingdings" panose="05000000000000000000" pitchFamily="2" charset="2"/>
              <a:buChar char=""/>
              <a:tabLst>
                <a:tab pos="914400" algn="l"/>
                <a:tab pos="1600200" algn="l"/>
              </a:tabLst>
            </a:pPr>
            <a:r>
              <a:rPr lang="en-US" sz="2200" b="1" dirty="0">
                <a:solidFill>
                  <a:srgbClr val="C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ssessment Instruments and Reports</a:t>
            </a:r>
            <a:endParaRPr lang="en-US" sz="2400" b="1" dirty="0">
              <a:solidFill>
                <a:srgbClr val="C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800089" lvl="1" indent="-342900" algn="just">
              <a:buFont typeface="Wingdings" panose="05000000000000000000" pitchFamily="2" charset="2"/>
              <a:buChar char=""/>
              <a:tabLst>
                <a:tab pos="457200" algn="l"/>
              </a:tabLst>
            </a:pPr>
            <a:r>
              <a:rPr lang="en-US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Fall 2023</a:t>
            </a:r>
          </a:p>
          <a:p>
            <a:pPr marL="742950" lvl="1" indent="-285750" algn="just">
              <a:buFont typeface="Wingdings" panose="05000000000000000000" pitchFamily="2" charset="2"/>
              <a:buChar char=""/>
            </a:pPr>
            <a:r>
              <a:rPr lang="en-US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Spring 2024</a:t>
            </a:r>
          </a:p>
          <a:p>
            <a:pPr marL="1257277" lvl="2" indent="-342900" algn="just">
              <a:buFont typeface="Wingdings" panose="05000000000000000000" pitchFamily="2" charset="2"/>
              <a:buChar char=""/>
              <a:tabLst>
                <a:tab pos="457200" algn="l"/>
              </a:tabLst>
            </a:pPr>
            <a:r>
              <a:rPr lang="en-US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ction 01 (Faculty name)</a:t>
            </a:r>
          </a:p>
          <a:p>
            <a:pPr marL="1143000" lvl="2" indent="-228600" algn="just">
              <a:buFont typeface="Wingdings" panose="05000000000000000000" pitchFamily="2" charset="2"/>
              <a:buChar char=""/>
              <a:tabLst>
                <a:tab pos="914400" algn="l"/>
              </a:tabLst>
            </a:pPr>
            <a:r>
              <a:rPr lang="en-US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ection 51 (Faculty name)</a:t>
            </a:r>
          </a:p>
          <a:p>
            <a:pPr marL="1714466" lvl="3" indent="-342900" algn="just">
              <a:buFont typeface="Wingdings" panose="05000000000000000000" pitchFamily="2" charset="2"/>
              <a:buChar char=""/>
            </a:pPr>
            <a:r>
              <a:rPr lang="en-US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ssessment Instruments 			(C3, C4)</a:t>
            </a:r>
          </a:p>
          <a:p>
            <a:pPr marL="2057389" lvl="4" indent="-228600" algn="just">
              <a:buFont typeface="Wingdings" panose="05000000000000000000" pitchFamily="2" charset="2"/>
              <a:buChar char=""/>
              <a:tabLst>
                <a:tab pos="2057400" algn="l"/>
              </a:tabLst>
            </a:pPr>
            <a:r>
              <a:rPr lang="en-US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Exams</a:t>
            </a:r>
          </a:p>
          <a:p>
            <a:pPr marL="2057389" lvl="4" indent="-228600" algn="just">
              <a:buFont typeface="Wingdings" panose="05000000000000000000" pitchFamily="2" charset="2"/>
              <a:buChar char=""/>
              <a:tabLst>
                <a:tab pos="2057400" algn="l"/>
              </a:tabLst>
            </a:pPr>
            <a:r>
              <a:rPr lang="en-US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Assignments </a:t>
            </a:r>
          </a:p>
          <a:p>
            <a:pPr marL="2057389" lvl="4" indent="-228600" algn="just">
              <a:buFont typeface="Wingdings" panose="05000000000000000000" pitchFamily="2" charset="2"/>
              <a:buChar char=""/>
              <a:tabLst>
                <a:tab pos="2057400" algn="l"/>
              </a:tabLst>
            </a:pPr>
            <a:r>
              <a:rPr lang="en-US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Quizzes</a:t>
            </a:r>
          </a:p>
          <a:p>
            <a:pPr marL="2057389" lvl="4" indent="-228600" algn="just">
              <a:buFont typeface="Wingdings" panose="05000000000000000000" pitchFamily="2" charset="2"/>
              <a:buChar char=""/>
              <a:tabLst>
                <a:tab pos="2057400" algn="l"/>
              </a:tabLst>
            </a:pPr>
            <a:r>
              <a:rPr lang="en-US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Projects</a:t>
            </a:r>
          </a:p>
          <a:p>
            <a:pPr marL="2057389" lvl="4" indent="-228600" algn="just">
              <a:buFont typeface="Wingdings" panose="05000000000000000000" pitchFamily="2" charset="2"/>
              <a:buChar char=""/>
              <a:tabLst>
                <a:tab pos="2057400" algn="l"/>
              </a:tabLst>
            </a:pPr>
            <a:r>
              <a:rPr lang="en-US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Others</a:t>
            </a:r>
          </a:p>
          <a:p>
            <a:pPr marL="1714466" lvl="3" indent="-342900" algn="just">
              <a:buFont typeface="Wingdings" panose="05000000000000000000" pitchFamily="2" charset="2"/>
              <a:buChar char=""/>
            </a:pPr>
            <a:r>
              <a:rPr lang="en-US" sz="1700" dirty="0">
                <a:latin typeface="Calibri" panose="020F0502020204030204" pitchFamily="34" charset="0"/>
                <a:cs typeface="Times New Roman" panose="02020603050405020304" pitchFamily="18" charset="0"/>
              </a:rPr>
              <a:t>Students Graded Samples 			(C5)</a:t>
            </a:r>
          </a:p>
          <a:p>
            <a:pPr marL="2057412" lvl="4" indent="-228600" algn="just">
              <a:buFont typeface="Wingdings" panose="05000000000000000000" pitchFamily="2" charset="2"/>
              <a:buChar char=""/>
            </a:pPr>
            <a:r>
              <a:rPr lang="en-US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 samples</a:t>
            </a:r>
          </a:p>
          <a:p>
            <a:pPr marL="2057412" lvl="4" indent="-228600" algn="just">
              <a:buFont typeface="Wingdings" panose="05000000000000000000" pitchFamily="2" charset="2"/>
              <a:buChar char=""/>
            </a:pPr>
            <a:r>
              <a:rPr lang="en-US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 samples</a:t>
            </a:r>
          </a:p>
          <a:p>
            <a:pPr marL="2057412" lvl="4" indent="-228600" algn="just">
              <a:buFont typeface="Wingdings" panose="05000000000000000000" pitchFamily="2" charset="2"/>
              <a:buChar char=""/>
            </a:pPr>
            <a:r>
              <a:rPr lang="en-US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 samples </a:t>
            </a:r>
          </a:p>
          <a:p>
            <a:pPr marL="2057412" lvl="4" indent="-228600" algn="just">
              <a:buFont typeface="Wingdings" panose="05000000000000000000" pitchFamily="2" charset="2"/>
              <a:buChar char=""/>
            </a:pPr>
            <a:r>
              <a:rPr lang="en-US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 samples</a:t>
            </a:r>
            <a:endParaRPr lang="en-US" sz="1700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L="1714466" lvl="3" indent="-342900" algn="just">
              <a:buFont typeface="Wingdings" panose="05000000000000000000" pitchFamily="2" charset="2"/>
              <a:buChar char=""/>
            </a:pPr>
            <a:r>
              <a:rPr lang="en-US" sz="1700" dirty="0">
                <a:latin typeface="Calibri" panose="020F0502020204030204" pitchFamily="34" charset="0"/>
                <a:cs typeface="Times New Roman" panose="02020603050405020304" pitchFamily="18" charset="0"/>
              </a:rPr>
              <a:t>Reports </a:t>
            </a:r>
          </a:p>
          <a:p>
            <a:pPr marL="2057412" lvl="4" indent="-228600" algn="just">
              <a:buFont typeface="Wingdings" panose="05000000000000000000" pitchFamily="2" charset="2"/>
              <a:buChar char=""/>
            </a:pPr>
            <a:r>
              <a:rPr lang="en-US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ttendance report				(C6)</a:t>
            </a:r>
          </a:p>
          <a:p>
            <a:pPr marL="2057412" lvl="4" indent="-228600" algn="just">
              <a:buFont typeface="Wingdings" panose="05000000000000000000" pitchFamily="2" charset="2"/>
              <a:buChar char=""/>
            </a:pPr>
            <a:r>
              <a:rPr lang="en-US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ssessment report				(C7)</a:t>
            </a:r>
          </a:p>
          <a:p>
            <a:pPr marL="2057412" lvl="4" indent="-228600" algn="just">
              <a:buFont typeface="Wingdings" panose="05000000000000000000" pitchFamily="2" charset="2"/>
              <a:buChar char=""/>
            </a:pPr>
            <a:r>
              <a:rPr lang="en-US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Quantitative analysis report 			(C8)</a:t>
            </a:r>
          </a:p>
          <a:p>
            <a:pPr marL="2057412" lvl="4" indent="-228600" algn="just">
              <a:buFont typeface="Wingdings" panose="05000000000000000000" pitchFamily="2" charset="2"/>
              <a:buChar char=""/>
            </a:pPr>
            <a:r>
              <a:rPr lang="en-US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udent feedback report			(C9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7518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5AFC87-A69B-FA2D-9D9B-7BCADE6C96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ming Convention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0D512B03-7484-2A3C-A600-33B8C9B2552E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2445516929"/>
              </p:ext>
            </p:extLst>
          </p:nvPr>
        </p:nvGraphicFramePr>
        <p:xfrm>
          <a:off x="1752600" y="762000"/>
          <a:ext cx="7924800" cy="538893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3276600">
                  <a:extLst>
                    <a:ext uri="{9D8B030D-6E8A-4147-A177-3AD203B41FA5}">
                      <a16:colId xmlns:a16="http://schemas.microsoft.com/office/drawing/2014/main" val="1438900192"/>
                    </a:ext>
                  </a:extLst>
                </a:gridCol>
                <a:gridCol w="2006600">
                  <a:extLst>
                    <a:ext uri="{9D8B030D-6E8A-4147-A177-3AD203B41FA5}">
                      <a16:colId xmlns:a16="http://schemas.microsoft.com/office/drawing/2014/main" val="3391477523"/>
                    </a:ext>
                  </a:extLst>
                </a:gridCol>
                <a:gridCol w="2641600">
                  <a:extLst>
                    <a:ext uri="{9D8B030D-6E8A-4147-A177-3AD203B41FA5}">
                      <a16:colId xmlns:a16="http://schemas.microsoft.com/office/drawing/2014/main" val="2616247916"/>
                    </a:ext>
                  </a:extLst>
                </a:gridCol>
              </a:tblGrid>
              <a:tr h="26949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b="1" dirty="0">
                          <a:solidFill>
                            <a:srgbClr val="FFFFFF"/>
                          </a:solidFill>
                          <a:effectLst/>
                        </a:rPr>
                        <a:t>File Type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b="1" dirty="0">
                          <a:solidFill>
                            <a:srgbClr val="FFFFFF"/>
                          </a:solidFill>
                          <a:effectLst/>
                        </a:rPr>
                        <a:t>Abbreviation 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b="1" dirty="0">
                          <a:solidFill>
                            <a:srgbClr val="FFFFFF"/>
                          </a:solidFill>
                          <a:effectLst/>
                        </a:rPr>
                        <a:t>Example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528926772"/>
                  </a:ext>
                </a:extLst>
              </a:tr>
              <a:tr h="18771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b="1" dirty="0">
                          <a:effectLst/>
                        </a:rPr>
                        <a:t>Syllabus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dirty="0">
                          <a:effectLst/>
                        </a:rPr>
                        <a:t>SYL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dirty="0">
                          <a:effectLst/>
                        </a:rPr>
                        <a:t>ITBP103_FA13_SYL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168355624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b="1" dirty="0">
                          <a:effectLst/>
                        </a:rPr>
                        <a:t>Lecture Notes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dirty="0">
                          <a:effectLst/>
                        </a:rPr>
                        <a:t>LCN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dirty="0">
                          <a:effectLst/>
                        </a:rPr>
                        <a:t>ITBP103_SP14_LCN_1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968443041"/>
                  </a:ext>
                </a:extLst>
              </a:tr>
              <a:tr h="199517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b="1" dirty="0">
                          <a:effectLst/>
                        </a:rPr>
                        <a:t>Final Exams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dirty="0">
                          <a:effectLst/>
                        </a:rPr>
                        <a:t>FE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dirty="0">
                          <a:effectLst/>
                        </a:rPr>
                        <a:t>ITBP103_SP15_51_FE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542075288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b="1" dirty="0">
                          <a:effectLst/>
                        </a:rPr>
                        <a:t>Final Exams Worked Answers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dirty="0">
                          <a:effectLst/>
                        </a:rPr>
                        <a:t>FE_WA 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dirty="0">
                          <a:effectLst/>
                        </a:rPr>
                        <a:t>ITBP103_SP15_51_FE_WA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087631863"/>
                  </a:ext>
                </a:extLst>
              </a:tr>
              <a:tr h="123317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b="1" dirty="0">
                          <a:effectLst/>
                        </a:rPr>
                        <a:t>Midterm Exams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dirty="0">
                          <a:effectLst/>
                        </a:rPr>
                        <a:t>MTE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dirty="0">
                          <a:effectLst/>
                        </a:rPr>
                        <a:t>ITBP103_SP14_53_MTE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903131679"/>
                  </a:ext>
                </a:extLst>
              </a:tr>
              <a:tr h="170434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b="1" dirty="0">
                          <a:effectLst/>
                        </a:rPr>
                        <a:t>Midterm Exams Worked Answers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dirty="0">
                          <a:effectLst/>
                        </a:rPr>
                        <a:t>MTE_WA 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dirty="0">
                          <a:effectLst/>
                        </a:rPr>
                        <a:t>ITBP103_SP14_53_MTE_WA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907335804"/>
                  </a:ext>
                </a:extLst>
              </a:tr>
              <a:tr h="65151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b="1" dirty="0">
                          <a:effectLst/>
                        </a:rPr>
                        <a:t>Assignments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dirty="0">
                          <a:effectLst/>
                        </a:rPr>
                        <a:t>ASG 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dirty="0">
                          <a:effectLst/>
                        </a:rPr>
                        <a:t>ITBP103_FA12_01_ASG_3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29004505"/>
                  </a:ext>
                </a:extLst>
              </a:tr>
              <a:tr h="112268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b="1" dirty="0">
                          <a:effectLst/>
                        </a:rPr>
                        <a:t>Assignments worked answers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dirty="0">
                          <a:effectLst/>
                        </a:rPr>
                        <a:t>ASG_WA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dirty="0">
                          <a:effectLst/>
                        </a:rPr>
                        <a:t>ITBP103_FA12_01_ASG_3_WA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108219233"/>
                  </a:ext>
                </a:extLst>
              </a:tr>
              <a:tr h="159385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b="1" dirty="0">
                          <a:effectLst/>
                        </a:rPr>
                        <a:t>Assignments Rubric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dirty="0">
                          <a:effectLst/>
                        </a:rPr>
                        <a:t>ASG_RBC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dirty="0">
                          <a:effectLst/>
                        </a:rPr>
                        <a:t>ITBP103_FA12_55_ASG_3_RBC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939332625"/>
                  </a:ext>
                </a:extLst>
              </a:tr>
              <a:tr h="13030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b="1" dirty="0">
                          <a:effectLst/>
                        </a:rPr>
                        <a:t>Quizzes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dirty="0">
                          <a:effectLst/>
                        </a:rPr>
                        <a:t>QZ 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dirty="0">
                          <a:effectLst/>
                        </a:rPr>
                        <a:t>ITBP103_SP14_02_QZ_6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87221931"/>
                  </a:ext>
                </a:extLst>
              </a:tr>
              <a:tr h="101219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b="1" dirty="0">
                          <a:effectLst/>
                        </a:rPr>
                        <a:t>Quizzes worked answers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dirty="0">
                          <a:effectLst/>
                        </a:rPr>
                        <a:t>QZ_WA.pdf  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dirty="0">
                          <a:effectLst/>
                        </a:rPr>
                        <a:t>ITBP103_SP14_02_QZ_6_WA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4597637"/>
                  </a:ext>
                </a:extLst>
              </a:tr>
              <a:tr h="72136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b="1" dirty="0">
                          <a:effectLst/>
                        </a:rPr>
                        <a:t>Tests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dirty="0">
                          <a:effectLst/>
                        </a:rPr>
                        <a:t>TST 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dirty="0">
                          <a:effectLst/>
                        </a:rPr>
                        <a:t>ITBP103_SP14_01_TST_1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050047625"/>
                  </a:ext>
                </a:extLst>
              </a:tr>
              <a:tr h="119253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b="1" dirty="0">
                          <a:effectLst/>
                        </a:rPr>
                        <a:t>Tests worked answers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dirty="0">
                          <a:effectLst/>
                        </a:rPr>
                        <a:t>TST_WA 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dirty="0">
                          <a:effectLst/>
                        </a:rPr>
                        <a:t>ITBP103_SP14_01_TST_1_WA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366557743"/>
                  </a:ext>
                </a:extLst>
              </a:tr>
              <a:tr h="9017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b="1" dirty="0">
                          <a:effectLst/>
                        </a:rPr>
                        <a:t>Labs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dirty="0">
                          <a:effectLst/>
                        </a:rPr>
                        <a:t>LAB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dirty="0">
                          <a:effectLst/>
                        </a:rPr>
                        <a:t>ITBP103_SP14_LAB_3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881264595"/>
                  </a:ext>
                </a:extLst>
              </a:tr>
              <a:tr h="61087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b="1" dirty="0">
                          <a:effectLst/>
                        </a:rPr>
                        <a:t>Lab Quiz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dirty="0">
                          <a:effectLst/>
                        </a:rPr>
                        <a:t>LAB_QZ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dirty="0">
                          <a:effectLst/>
                        </a:rPr>
                        <a:t>ITBP103_SP14_01&amp;51_LAB_QZ_3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220098202"/>
                  </a:ext>
                </a:extLst>
              </a:tr>
              <a:tr h="108204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b="1" dirty="0">
                          <a:effectLst/>
                        </a:rPr>
                        <a:t>Lab Test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dirty="0">
                          <a:effectLst/>
                        </a:rPr>
                        <a:t>LAB_TST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dirty="0">
                          <a:effectLst/>
                        </a:rPr>
                        <a:t>ITBP103_SP14_01&amp;51_LAB_TST_1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11412012"/>
                  </a:ext>
                </a:extLst>
              </a:tr>
              <a:tr h="79121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b="1" dirty="0">
                          <a:effectLst/>
                        </a:rPr>
                        <a:t>Project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dirty="0">
                          <a:effectLst/>
                        </a:rPr>
                        <a:t>PRJ 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dirty="0">
                          <a:effectLst/>
                        </a:rPr>
                        <a:t>ITBP103_SP14_51&amp;53_PRJ_1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07303492"/>
                  </a:ext>
                </a:extLst>
              </a:tr>
              <a:tr h="50038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b="1" dirty="0">
                          <a:effectLst/>
                        </a:rPr>
                        <a:t>Project Rubric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dirty="0">
                          <a:effectLst/>
                        </a:rPr>
                        <a:t>PRJ_RBC 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dirty="0">
                          <a:effectLst/>
                        </a:rPr>
                        <a:t>ITBP103_SP14_51&amp;53_PRJ_1_RBC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71525414"/>
                  </a:ext>
                </a:extLst>
              </a:tr>
              <a:tr h="97155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b="1" dirty="0">
                          <a:effectLst/>
                        </a:rPr>
                        <a:t>Students Graded Samples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dirty="0">
                          <a:effectLst/>
                        </a:rPr>
                        <a:t>GS 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dirty="0">
                          <a:effectLst/>
                        </a:rPr>
                        <a:t>ITBP103_SP14_GS_A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186505081"/>
                  </a:ext>
                </a:extLst>
              </a:tr>
              <a:tr h="6807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b="1" dirty="0">
                          <a:effectLst/>
                        </a:rPr>
                        <a:t>Assessment Report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dirty="0">
                          <a:effectLst/>
                        </a:rPr>
                        <a:t>AR 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dirty="0">
                          <a:effectLst/>
                        </a:rPr>
                        <a:t>ITBP103_SP14_AR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2327069"/>
                  </a:ext>
                </a:extLst>
              </a:tr>
              <a:tr h="115189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b="1" dirty="0">
                          <a:effectLst/>
                        </a:rPr>
                        <a:t>SET Summary 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dirty="0">
                          <a:effectLst/>
                        </a:rPr>
                        <a:t>SET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dirty="0">
                          <a:effectLst/>
                        </a:rPr>
                        <a:t>ITBP103_SP14_SET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54642141"/>
                  </a:ext>
                </a:extLst>
              </a:tr>
              <a:tr h="26949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b="1" dirty="0">
                          <a:effectLst/>
                        </a:rPr>
                        <a:t>Grade Distribution 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dirty="0">
                          <a:effectLst/>
                        </a:rPr>
                        <a:t>GD 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dirty="0">
                          <a:effectLst/>
                        </a:rPr>
                        <a:t>ITBP103_SP14_GD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34968993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22323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226B40-E215-53F6-020C-2910EB0D97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nline Reposito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AD1CF05-E9FB-96F1-0759-2C12A67611A5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285761" indent="-285750" algn="just">
              <a:spcBef>
                <a:spcPts val="600"/>
              </a:spcBef>
              <a:buFont typeface="Wingdings" panose="05000000000000000000" pitchFamily="2" charset="2"/>
              <a:buChar char=""/>
              <a:tabLst>
                <a:tab pos="1943100" algn="l"/>
              </a:tabLst>
            </a:pPr>
            <a:r>
              <a:rPr lang="en-US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b="1" dirty="0">
                <a:solidFill>
                  <a:schemeClr val="accent5">
                    <a:lumMod val="50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stitution Content</a:t>
            </a:r>
          </a:p>
          <a:p>
            <a:pPr marL="742950" lvl="1" indent="-285750" algn="just">
              <a:buFont typeface="Wingdings" panose="05000000000000000000" pitchFamily="2" charset="2"/>
              <a:buChar char=""/>
              <a:tabLst>
                <a:tab pos="1943100" algn="l"/>
              </a:tabLst>
            </a:pPr>
            <a:r>
              <a:rPr lang="en-US" sz="16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r>
              <a:rPr lang="en-US" sz="2000" b="1" dirty="0">
                <a:solidFill>
                  <a:schemeClr val="accent2">
                    <a:lumMod val="7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lege of Science</a:t>
            </a:r>
          </a:p>
          <a:p>
            <a:pPr marL="1200138" lvl="2" indent="-285750" algn="just">
              <a:buFont typeface="Wingdings" panose="05000000000000000000" pitchFamily="2" charset="2"/>
              <a:buChar char=""/>
              <a:tabLst>
                <a:tab pos="1943100" algn="l"/>
              </a:tabLst>
            </a:pPr>
            <a:r>
              <a:rPr lang="en-US" sz="18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r>
              <a:rPr lang="en-US" sz="1800" b="1" dirty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urricula</a:t>
            </a:r>
            <a:r>
              <a:rPr lang="en-US" sz="1800" dirty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marL="1657327" lvl="3" indent="-285750" algn="just">
              <a:buFont typeface="Wingdings" panose="05000000000000000000" pitchFamily="2" charset="2"/>
              <a:buChar char=""/>
              <a:tabLst>
                <a:tab pos="1943100" algn="l"/>
              </a:tabLst>
            </a:pPr>
            <a:r>
              <a:rPr lang="en-US" sz="1600" dirty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r>
              <a:rPr lang="en-US" sz="1600" b="1" dirty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raduate Curricula</a:t>
            </a:r>
          </a:p>
          <a:p>
            <a:pPr marL="1657327" lvl="3" indent="-285750" algn="just">
              <a:buFont typeface="Wingdings" panose="05000000000000000000" pitchFamily="2" charset="2"/>
              <a:buChar char=""/>
              <a:tabLst>
                <a:tab pos="1943100" algn="l"/>
              </a:tabLst>
            </a:pPr>
            <a:r>
              <a:rPr lang="en-US" sz="1600" dirty="0">
                <a:solidFill>
                  <a:schemeClr val="accent6">
                    <a:lumMod val="7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r>
              <a:rPr lang="en-US" sz="1600" b="1" dirty="0">
                <a:solidFill>
                  <a:schemeClr val="accent6">
                    <a:lumMod val="7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ndergrad</a:t>
            </a:r>
            <a:r>
              <a:rPr lang="en-US" sz="1600" b="1" dirty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ate Curricula</a:t>
            </a:r>
          </a:p>
          <a:p>
            <a:pPr marL="2114516" lvl="4" indent="-285750" algn="just">
              <a:buFont typeface="Wingdings" panose="05000000000000000000" pitchFamily="2" charset="2"/>
              <a:buChar char=""/>
              <a:tabLst>
                <a:tab pos="1943100" algn="l"/>
              </a:tabLst>
            </a:pPr>
            <a:r>
              <a:rPr lang="en-US" sz="14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IOL</a:t>
            </a:r>
          </a:p>
          <a:p>
            <a:pPr marL="2571704" lvl="5" indent="-285750" algn="just">
              <a:buFont typeface="Wingdings" panose="05000000000000000000" pitchFamily="2" charset="2"/>
              <a:buChar char=""/>
              <a:tabLst>
                <a:tab pos="1943100" algn="l"/>
              </a:tabLst>
            </a:pPr>
            <a:r>
              <a:rPr lang="en-US" sz="14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IOC</a:t>
            </a:r>
          </a:p>
          <a:p>
            <a:pPr marL="3028893" lvl="6" indent="-285750" algn="just">
              <a:buFont typeface="Wingdings" panose="05000000000000000000" pitchFamily="2" charset="2"/>
              <a:buChar char=""/>
              <a:tabLst>
                <a:tab pos="1943100" algn="l"/>
              </a:tabLst>
            </a:pPr>
            <a:r>
              <a:rPr lang="en-US" sz="14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IOC100</a:t>
            </a:r>
          </a:p>
          <a:p>
            <a:pPr marL="3028893" lvl="6" indent="-285750" algn="just">
              <a:buFont typeface="Wingdings" panose="05000000000000000000" pitchFamily="2" charset="2"/>
              <a:buChar char=""/>
              <a:tabLst>
                <a:tab pos="1943100" algn="l"/>
              </a:tabLst>
            </a:pPr>
            <a:r>
              <a:rPr lang="en-US" sz="14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IOC155</a:t>
            </a:r>
          </a:p>
          <a:p>
            <a:pPr marL="3028893" lvl="6" indent="-285750" algn="just">
              <a:buFont typeface="Wingdings" panose="05000000000000000000" pitchFamily="2" charset="2"/>
              <a:buChar char=""/>
              <a:tabLst>
                <a:tab pos="1943100" algn="l"/>
              </a:tabLst>
            </a:pPr>
            <a:r>
              <a:rPr lang="en-US" sz="14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IOC160</a:t>
            </a:r>
          </a:p>
          <a:p>
            <a:pPr marL="3028893" lvl="6" indent="-285750" algn="just">
              <a:buFont typeface="Wingdings" panose="05000000000000000000" pitchFamily="2" charset="2"/>
              <a:buChar char=""/>
              <a:tabLst>
                <a:tab pos="1943100" algn="l"/>
              </a:tabLst>
            </a:pPr>
            <a:r>
              <a:rPr lang="en-US" sz="14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…</a:t>
            </a:r>
          </a:p>
          <a:p>
            <a:pPr marL="2571704" lvl="5" indent="-285750" algn="just">
              <a:buFont typeface="Wingdings" panose="05000000000000000000" pitchFamily="2" charset="2"/>
              <a:buChar char=""/>
              <a:tabLst>
                <a:tab pos="1943100" algn="l"/>
              </a:tabLst>
            </a:pPr>
            <a:r>
              <a:rPr lang="en-US" sz="14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IOE</a:t>
            </a:r>
          </a:p>
          <a:p>
            <a:pPr marL="2571704" lvl="5" indent="-285750" algn="just">
              <a:buFont typeface="Wingdings" panose="05000000000000000000" pitchFamily="2" charset="2"/>
              <a:buChar char=""/>
              <a:tabLst>
                <a:tab pos="1943100" algn="l"/>
              </a:tabLst>
            </a:pPr>
            <a:r>
              <a:rPr lang="en-US" sz="14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IOG</a:t>
            </a:r>
          </a:p>
          <a:p>
            <a:pPr marL="2571704" lvl="5" indent="-285750" algn="just">
              <a:buFont typeface="Wingdings" panose="05000000000000000000" pitchFamily="2" charset="2"/>
              <a:buChar char=""/>
              <a:tabLst>
                <a:tab pos="1943100" algn="l"/>
              </a:tabLst>
            </a:pPr>
            <a:r>
              <a:rPr lang="en-US" sz="14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IOL</a:t>
            </a:r>
          </a:p>
          <a:p>
            <a:pPr marL="2571704" lvl="5" indent="-285750" algn="just">
              <a:buFont typeface="Wingdings" panose="05000000000000000000" pitchFamily="2" charset="2"/>
              <a:buChar char=""/>
              <a:tabLst>
                <a:tab pos="1943100" algn="l"/>
              </a:tabLst>
            </a:pPr>
            <a:r>
              <a:rPr lang="en-US" sz="14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IOM</a:t>
            </a:r>
          </a:p>
          <a:p>
            <a:pPr marL="2114516" lvl="4" indent="-285750" algn="just">
              <a:buFont typeface="Wingdings" panose="05000000000000000000" pitchFamily="2" charset="2"/>
              <a:buChar char=""/>
              <a:tabLst>
                <a:tab pos="1943100" algn="l"/>
              </a:tabLst>
            </a:pPr>
            <a:r>
              <a:rPr lang="en-US" sz="14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EOS</a:t>
            </a:r>
          </a:p>
          <a:p>
            <a:pPr marL="2114516" lvl="4" indent="-285750" algn="just">
              <a:buFont typeface="Wingdings" panose="05000000000000000000" pitchFamily="2" charset="2"/>
              <a:buChar char=""/>
              <a:tabLst>
                <a:tab pos="1943100" algn="l"/>
              </a:tabLst>
            </a:pPr>
            <a:r>
              <a:rPr lang="en-US" sz="14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TH</a:t>
            </a:r>
          </a:p>
          <a:p>
            <a:pPr marL="2114516" lvl="4" indent="-285750" algn="just">
              <a:buFont typeface="Wingdings" panose="05000000000000000000" pitchFamily="2" charset="2"/>
              <a:buChar char=""/>
              <a:tabLst>
                <a:tab pos="1943100" algn="l"/>
              </a:tabLst>
            </a:pPr>
            <a:r>
              <a:rPr lang="en-US" sz="14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HY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2739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103654-4861-2C63-2CC9-B49EB00629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nline Repository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C44A62-4090-1430-E8FC-B8C0FF8EC45C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285761" indent="-285750" algn="just">
              <a:buFont typeface="Wingdings" panose="05000000000000000000" pitchFamily="2" charset="2"/>
              <a:buChar char=""/>
              <a:tabLst>
                <a:tab pos="1943100" algn="l"/>
              </a:tabLst>
            </a:pPr>
            <a:r>
              <a:rPr lang="en-US" sz="2400" b="1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BIOC160</a:t>
            </a:r>
          </a:p>
          <a:p>
            <a:pPr marL="742950" lvl="1" indent="-285750" algn="just">
              <a:buFont typeface="Wingdings" panose="05000000000000000000" pitchFamily="2" charset="2"/>
              <a:buChar char=""/>
              <a:tabLst>
                <a:tab pos="1943100" algn="l"/>
              </a:tabLst>
            </a:pPr>
            <a:r>
              <a:rPr lang="en-US" sz="1800" b="1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Syllabus</a:t>
            </a:r>
          </a:p>
          <a:p>
            <a:pPr marL="1200138" lvl="2" indent="-285750" algn="just">
              <a:buFont typeface="Wingdings" panose="05000000000000000000" pitchFamily="2" charset="2"/>
              <a:buChar char=""/>
              <a:tabLst>
                <a:tab pos="1943100" algn="l"/>
              </a:tabLst>
            </a:pPr>
            <a:r>
              <a:rPr lang="en-US" sz="1600" b="1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all 2023</a:t>
            </a:r>
          </a:p>
          <a:p>
            <a:pPr marL="1200138" lvl="2" indent="-285750" algn="just">
              <a:buFont typeface="Wingdings" panose="05000000000000000000" pitchFamily="2" charset="2"/>
              <a:buChar char=""/>
              <a:tabLst>
                <a:tab pos="1943100" algn="l"/>
              </a:tabLst>
            </a:pPr>
            <a:r>
              <a:rPr lang="en-US" sz="1600" b="1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pring 2024</a:t>
            </a:r>
          </a:p>
          <a:p>
            <a:pPr marL="1657327" lvl="3" indent="-285750" algn="just">
              <a:buFont typeface="Wingdings" panose="05000000000000000000" pitchFamily="2" charset="2"/>
              <a:buChar char=""/>
              <a:tabLst>
                <a:tab pos="1943100" algn="l"/>
              </a:tabLst>
            </a:pPr>
            <a:r>
              <a:rPr lang="en-US" sz="1400" b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ction 51 ( Faculty Name)</a:t>
            </a:r>
          </a:p>
          <a:p>
            <a:pPr marL="1657327" lvl="3" indent="-285750" algn="just">
              <a:buFont typeface="Wingdings" panose="05000000000000000000" pitchFamily="2" charset="2"/>
              <a:buChar char=""/>
              <a:tabLst>
                <a:tab pos="1943100" algn="l"/>
              </a:tabLst>
            </a:pPr>
            <a:r>
              <a:rPr lang="en-US" sz="1400" b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ction 52 (Faculty Name </a:t>
            </a:r>
          </a:p>
          <a:p>
            <a:pPr marL="1657327" lvl="3" indent="-285750" algn="just">
              <a:buFont typeface="Wingdings" panose="05000000000000000000" pitchFamily="2" charset="2"/>
              <a:buChar char=""/>
              <a:tabLst>
                <a:tab pos="1943100" algn="l"/>
              </a:tabLst>
            </a:pPr>
            <a:r>
              <a:rPr lang="en-US" sz="1400" b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…</a:t>
            </a:r>
          </a:p>
          <a:p>
            <a:pPr marL="742950" lvl="1" indent="-285750" algn="just">
              <a:buFont typeface="Wingdings" panose="05000000000000000000" pitchFamily="2" charset="2"/>
              <a:buChar char=""/>
              <a:tabLst>
                <a:tab pos="1943100" algn="l"/>
              </a:tabLst>
            </a:pPr>
            <a:r>
              <a:rPr lang="en-US" sz="1800" b="1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aching Material</a:t>
            </a:r>
          </a:p>
          <a:p>
            <a:pPr marL="1143011" lvl="2" indent="-228600" algn="just">
              <a:buFont typeface="Wingdings" panose="05000000000000000000" pitchFamily="2" charset="2"/>
              <a:buChar char=""/>
            </a:pPr>
            <a:r>
              <a:rPr lang="en-US" sz="1600" b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Lecture Notes</a:t>
            </a:r>
          </a:p>
          <a:p>
            <a:pPr marL="1143011" lvl="2" indent="-228600" algn="just">
              <a:buFont typeface="Wingdings" panose="05000000000000000000" pitchFamily="2" charset="2"/>
              <a:buChar char=""/>
            </a:pPr>
            <a:r>
              <a:rPr lang="en-US" sz="1600" b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Labs</a:t>
            </a:r>
          </a:p>
          <a:p>
            <a:pPr marL="1143011" lvl="2" indent="-228600" algn="just">
              <a:buFont typeface="Wingdings" panose="05000000000000000000" pitchFamily="2" charset="2"/>
              <a:buChar char=""/>
            </a:pPr>
            <a:r>
              <a:rPr lang="en-US" sz="1600" b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Handouts</a:t>
            </a:r>
            <a:endParaRPr lang="en-US" sz="1600" b="1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lvl="1" indent="-285750" algn="just">
              <a:buFont typeface="Wingdings" panose="05000000000000000000" pitchFamily="2" charset="2"/>
              <a:buChar char=""/>
              <a:tabLst>
                <a:tab pos="1943100" algn="l"/>
              </a:tabLst>
            </a:pPr>
            <a:r>
              <a:rPr lang="en-US" sz="1800" b="1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ssessment Instruments and Reports</a:t>
            </a:r>
          </a:p>
          <a:p>
            <a:pPr marL="1200138" lvl="2" indent="-285750" algn="just">
              <a:buFont typeface="Wingdings" panose="05000000000000000000" pitchFamily="2" charset="2"/>
              <a:buChar char=""/>
              <a:tabLst>
                <a:tab pos="1943100" algn="l"/>
              </a:tabLst>
            </a:pPr>
            <a:r>
              <a:rPr lang="en-US" sz="1600" b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all 2023</a:t>
            </a:r>
          </a:p>
          <a:p>
            <a:pPr marL="1200138" lvl="2" indent="-285750" algn="just">
              <a:buFont typeface="Wingdings" panose="05000000000000000000" pitchFamily="2" charset="2"/>
              <a:buChar char=""/>
              <a:tabLst>
                <a:tab pos="1943100" algn="l"/>
              </a:tabLst>
            </a:pPr>
            <a:r>
              <a:rPr lang="en-US" sz="1600" b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pring 2024</a:t>
            </a:r>
          </a:p>
          <a:p>
            <a:pPr marL="1657327" lvl="3" indent="-285750" algn="just">
              <a:buFont typeface="Wingdings" panose="05000000000000000000" pitchFamily="2" charset="2"/>
              <a:buChar char=""/>
              <a:tabLst>
                <a:tab pos="1943100" algn="l"/>
              </a:tabLst>
            </a:pPr>
            <a:r>
              <a:rPr lang="en-US" sz="1400" b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ction 51 ( Faculty Name)</a:t>
            </a:r>
          </a:p>
          <a:p>
            <a:pPr marL="1657327" lvl="3" indent="-285750" algn="just">
              <a:buFont typeface="Wingdings" panose="05000000000000000000" pitchFamily="2" charset="2"/>
              <a:buChar char=""/>
              <a:tabLst>
                <a:tab pos="1943100" algn="l"/>
              </a:tabLst>
            </a:pPr>
            <a:r>
              <a:rPr lang="en-US" sz="1400" b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ction 52 (Faculty Name </a:t>
            </a:r>
          </a:p>
          <a:p>
            <a:pPr marL="1657327" lvl="3" indent="-285750" algn="just">
              <a:buFont typeface="Wingdings" panose="05000000000000000000" pitchFamily="2" charset="2"/>
              <a:buChar char=""/>
              <a:tabLst>
                <a:tab pos="1943100" algn="l"/>
              </a:tabLst>
            </a:pPr>
            <a:r>
              <a:rPr lang="en-US" sz="1400" b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…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262934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O0ZaZRK_IoJTv_af3tZ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FptOf_5iKAtNRpERwLG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tUm2koxMPubay4i4pR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zT5nqkFhe7jisYO9Ctj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XuJTOpp8DeS6H6clNh7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kWqwaoez0B1fUbRZAiw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tUm2koxMPubay4i4pR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O0ZaZRK_IoJTv_af3tZ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JHIRHlMEG4IO1YlF_5N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O0ZaZRK_IoJTv_af3tZ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qZSszvblVjF02JVTNYM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KwnJ0qNi.lTpIQwCVwk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lYecMajmglmXM7yVfsy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uQvK80kpaBw6KJv0si0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NHQr2LuYXgoa7Phb84x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kuqK.rIupma0tEsCMoF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pmeoIigLtiGxKES3S3Z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xF8ccI1uk9ulS6akqjk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9lB7NvNUnwDeWIgPw5Y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euuh_k1tnA5Z0HkbxTv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JZUKZdqjF2zzHQNHZZR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JHIRHlMEG4IO1YlF_5N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dT2OI15v9vx9Cato.Wn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MKzrF0Z9tIgXnMWIzqU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3ykBrEcMU7GapwN964S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a3Y61Ai7Pd9xdKvPUa7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EhhZ1wmHYClJk_cFlen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yjTAGk9MvWmhr_lmhfO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Sh4TdeCTAnH5fv6TqZ9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qZSszvblVjF02JVTNYM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3DpLjC1MBsH2NsIxTlD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g9rZX.QFX61O41ckhcc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.LJrS9SiQxbIskHd.WI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GM0R.gDrnYcXhS9H_As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U0wqQaTJvOlTU1GnXK4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W_ksQ1UZ_0Y2s_JFBYv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9qcxSz4sUPl2pqni.aj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KwnJ0qNi.lTpIQwCVwk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T6LhE36atjedj1wTIjW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KMwLYIG7EJp7HBbKYMn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QlYUfsdbSQPcn7aSkc0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vDGCg56lKuqqORVtBpp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Otz3705hbRaNfIXDncz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MiGYQEX7r1I6Fipfdd1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xuick09N6Kq53EvH6S9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Ms6Udo_2K_EofE.ezaL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5zF5azLQWJvS6k13bRx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RqK_mpY2Q2siva10WnQ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lYecMajmglmXM7yVfsy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mQXPvV_pwo5epRJwqv8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fhS88yBbucKPc8vDanf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0jfP1ZJhTWPnCKyYDV8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83.qZ_9j677iz0mMX3x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90XQ1twO38Wk6V19wfN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g4usU_SJJEpxydRzeSf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uQvK80kpaBw6KJv0si0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FptOf_5iKAtNRpERwLG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zT5nqkFhe7jisYO9Ctj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XuJTOpp8DeS6H6clNh7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kWqwaoez0B1fUbRZAiw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tUm2koxMPubay4i4pR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O0ZaZRK_IoJTv_af3tZ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JHIRHlMEG4IO1YlF_5N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qZSszvblVjF02JVTNYM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KwnJ0qNi.lTpIQwCVwk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lYecMajmglmXM7yVfsy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uQvK80kpaBw6KJv0si0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NHQr2LuYXgoa7Phb84x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NHQr2LuYXgoa7Phb84x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kuqK.rIupma0tEsCMoF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pmeoIigLtiGxKES3S3Z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xF8ccI1uk9ulS6akqjk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9lB7NvNUnwDeWIgPw5Y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euuh_k1tnA5Z0HkbxTv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JZUKZdqjF2zzHQNHZZR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dT2OI15v9vx9Cato.Wn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MKzrF0Z9tIgXnMWIzqU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3ykBrEcMU7GapwN964S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kuqK.rIupma0tEsCMoF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a3Y61Ai7Pd9xdKvPUa7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EhhZ1wmHYClJk_cFlen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yjTAGk9MvWmhr_lmhfO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Sh4TdeCTAnH5fv6TqZ9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3DpLjC1MBsH2NsIxTlD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g9rZX.QFX61O41ckhcc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.LJrS9SiQxbIskHd.WI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GM0R.gDrnYcXhS9H_As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pmeoIigLtiGxKES3S3Z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U0wqQaTJvOlTU1GnXK4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W_ksQ1UZ_0Y2s_JFBYv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9qcxSz4sUPl2pqni.aj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T6LhE36atjedj1wTIjW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KMwLYIG7EJp7HBbKYMn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QlYUfsdbSQPcn7aSkc0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vDGCg56lKuqqORVtBppA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Otz3705hbRaNfIXDncz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MiGYQEX7r1I6Fipfdd1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xuick09N6Kq53EvH6S9g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Ms6Udo_2K_EofE.ezaL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xF8ccI1uk9ulS6akqjk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5zF5azLQWJvS6k13bRxUA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RqK_mpY2Q2siva10WnQw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mQXPvV_pwo5epRJwqv8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fhS88yBbucKPc8vDanf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0jfP1ZJhTWPnCKyYDV8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kWqwaoez0B1fUbRZAiw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83.qZ_9j677iz0mMX3xg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90XQ1twO38Wk6V19wfNg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g4usU_SJJEpxydRzeSf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9lB7NvNUnwDeWIgPw5YA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FptOf_5iKAtNRpERwLG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zT5nqkFhe7jisYO9Ctjg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XuJTOpp8DeS6H6clNh7g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kWqwaoez0B1fUbRZAiwg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tUm2koxMPubay4i4pRQ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O0ZaZRK_IoJTv_af3tZ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JHIRHlMEG4IO1YlF_5N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qZSszvblVjF02JVTNYMw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KwnJ0qNi.lTpIQwCVwk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euuh_k1tnA5Z0HkbxTvg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lYecMajmglmXM7yVfsyQ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uQvK80kpaBw6KJv0si0g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NHQr2LuYXgoa7Phb84x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kuqK.rIupma0tEsCMoF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pmeoIigLtiGxKES3S3Z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xF8ccI1uk9ulS6akqjk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9lB7NvNUnwDeWIgPw5Y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euuh_k1tnA5Z0HkbxTv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JZUKZdqjF2zzHQNHZZRw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dT2OI15v9vx9Cato.Wn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JZUKZdqjF2zzHQNHZZRw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MKzrF0Z9tIgXnMWIzqUQ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3ykBrEcMU7GapwN964SQ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a3Y61Ai7Pd9xdKvPUa7A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EhhZ1wmHYClJk_cFlenw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yjTAGk9MvWmhr_lmhfO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Sh4TdeCTAnH5fv6TqZ9g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3DpLjC1MBsH2NsIxTlDA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g9rZX.QFX61O41ckhcc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dT2OI15v9vx9Cato.Wnw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.LJrS9SiQxbIskHd.WIw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GM0R.gDrnYcXhS9H_As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U0wqQaTJvOlTU1GnXK4A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W_ksQ1UZ_0Y2s_JFBYvQ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9qcxSz4sUPl2pqni.ajA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T6LhE36atjedj1wTIjW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KMwLYIG7EJp7HBbKYMnQ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QlYUfsdbSQPcn7aSkc0w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vDGCg56lKuqqORVtBppA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Otz3705hbRaNfIXDnczA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MiGYQEX7r1I6Fipfdd1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MKzrF0Z9tIgXnMWIzqUQ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xuick09N6Kq53EvH6S9g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Ms6Udo_2K_EofE.ezaLw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5zF5azLQWJvS6k13bRxUA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RqK_mpY2Q2siva10WnQw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mQXPvV_pwo5epRJwqv8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fhS88yBbucKPc8vDanfQ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0jfP1ZJhTWPnCKyYDV8w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83.qZ_9j677iz0mMX3xg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90XQ1twO38Wk6V19wfNg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g4usU_SJJEpxydRzeSf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3ykBrEcMU7GapwN964SQ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FptOf_5iKAtNRpERwLGg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zT5nqkFhe7jisYO9Ctjg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XuJTOpp8DeS6H6clNh7g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kWqwaoez0B1fUbRZAiw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a3Y61Ai7Pd9xdKvPUa7A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tUm2koxMPubay4i4pRQ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O0ZaZRK_IoJTv_af3tZw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JHIRHlMEG4IO1YlF_5NA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qZSszvblVjF02JVTNYMw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KwnJ0qNi.lTpIQwCVwkg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lYecMajmglmXM7yVfsyQ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uQvK80kpaBw6KJv0si0g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EhhZ1wmHYClJk_cFlenw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NHQr2LuYXgoa7Phb84xA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kuqK.rIupma0tEsCMoFA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pmeoIigLtiGxKES3S3ZA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xF8ccI1uk9ulS6akqjkg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9lB7NvNUnwDeWIgPw5YA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euuh_k1tnA5Z0HkbxTvg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JZUKZdqjF2zzHQNHZZR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yjTAGk9MvWmhr_lmhfOw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dT2OI15v9vx9Cato.Wnw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MKzrF0Z9tIgXnMWIzqUQ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3ykBrEcMU7GapwN964SQ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a3Y61Ai7Pd9xdKvPUa7A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EhhZ1wmHYClJk_cFlenw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yjTAGk9MvWmhr_lmhfOw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FptOf_5iKAtNRpERwLG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Sh4TdeCTAnH5fv6TqZ9g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3DpLjC1MBsH2NsIxTlDA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g9rZX.QFX61O41ckhccQ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.LJrS9SiQxbIskHd.WIw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GM0R.gDrnYcXhS9H_AsA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U0wqQaTJvOlTU1GnXK4A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W_ksQ1UZ_0Y2s_JFBYvQ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9qcxSz4sUPl2pqni.ajA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T6LhE36atjedj1wTIjWg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KMwLYIG7EJp7HBbKYMnQ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QlYUfsdbSQPcn7aSkc0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vDGCg56lKuqqORVtBppA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Otz3705hbRaNfIXDnczA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MiGYQEX7r1I6Fipfdd1Q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Sh4TdeCTAnH5fv6TqZ9g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xuick09N6Kq53EvH6S9g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Ms6Udo_2K_EofE.ezaLw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5zF5azLQWJvS6k13bRxUA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RqK_mpY2Q2siva10WnQw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mQXPvV_pwo5epRJwqv8w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fhS88yBbucKPc8vDanfQ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0jfP1ZJhTWPnCKyYDV8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3DpLjC1MBsH2NsIxTlDA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83.qZ_9j677iz0mMX3xg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90XQ1twO38Wk6V19wfNg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g4usU_SJJEpxydRzeSf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g9rZX.QFX61O41ckhccQ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.LJrS9SiQxbIskHd.WIw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kWqwaoez0B1fUbRZAiwg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zT5nqkFhe7jisYO9Ctj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GM0R.gDrnYcXhS9H_As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U0wqQaTJvOlTU1GnXK4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W_ksQ1UZ_0Y2s_JFBYv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9qcxSz4sUPl2pqni.aj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T6LhE36atjedj1wTIjW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KMwLYIG7EJp7HBbKYMn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QlYUfsdbSQPcn7aSkc0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vDGCg56lKuqqORVtBpp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Otz3705hbRaNfIXDncz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MiGYQEX7r1I6Fipfdd1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xuick09N6Kq53EvH6S9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XuJTOpp8DeS6H6clNh7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Ms6Udo_2K_EofE.ezaL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5zF5azLQWJvS6k13bRxU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RqK_mpY2Q2siva10WnQ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mQXPvV_pwo5epRJwqv8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fhS88yBbucKPc8vDanf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kWqwaoez0B1fUbRZAiw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0jfP1ZJhTWPnCKyYDV8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83.qZ_9j677iz0mMX3x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90XQ1twO38Wk6V19wfN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g4usU_SJJEpxydRzeSf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6_Presentation4">
  <a:themeElements>
    <a:clrScheme name="Presentation4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Presentation4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sq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cs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sq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cs typeface="Arial" panose="020B0604020202020204" pitchFamily="34" charset="0"/>
          </a:defRPr>
        </a:defPPr>
      </a:lstStyle>
    </a:lnDef>
  </a:objectDefaults>
  <a:extraClrSchemeLst>
    <a:extraClrScheme>
      <a:clrScheme name="Presentation4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4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4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4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4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4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4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4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4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4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4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4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4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10_Presentation4">
  <a:themeElements>
    <a:clrScheme name="Presentation4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Presentation4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sq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cs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sq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cs typeface="Arial" panose="020B0604020202020204" pitchFamily="34" charset="0"/>
          </a:defRPr>
        </a:defPPr>
      </a:lstStyle>
    </a:lnDef>
  </a:objectDefaults>
  <a:extraClrSchemeLst>
    <a:extraClrScheme>
      <a:clrScheme name="Presentation4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4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4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4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4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4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4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4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4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4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4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4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4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7_BCG Grid 16:9">
  <a:themeElements>
    <a:clrScheme name="WASC">
      <a:dk1>
        <a:srgbClr val="262626"/>
      </a:dk1>
      <a:lt1>
        <a:sysClr val="window" lastClr="FFFFFF"/>
      </a:lt1>
      <a:dk2>
        <a:srgbClr val="EF4F50"/>
      </a:dk2>
      <a:lt2>
        <a:srgbClr val="F2F2F2"/>
      </a:lt2>
      <a:accent1>
        <a:srgbClr val="9A0E0E"/>
      </a:accent1>
      <a:accent2>
        <a:srgbClr val="C41212"/>
      </a:accent2>
      <a:accent3>
        <a:srgbClr val="FFA819"/>
      </a:accent3>
      <a:accent4>
        <a:srgbClr val="F7A7A7"/>
      </a:accent4>
      <a:accent5>
        <a:srgbClr val="808080"/>
      </a:accent5>
      <a:accent6>
        <a:srgbClr val="B41D8C"/>
      </a:accent6>
      <a:hlink>
        <a:srgbClr val="1389FF"/>
      </a:hlink>
      <a:folHlink>
        <a:srgbClr val="001D3B"/>
      </a:folHlink>
    </a:clrScheme>
    <a:fontScheme name="Trebuchet MS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EF4F50"/>
        </a:solidFill>
        <a:ln w="9525" cap="rnd" cmpd="sng" algn="ctr">
          <a:noFill/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262626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7_Presentation4">
  <a:themeElements>
    <a:clrScheme name="Presentation4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Presentation4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sq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cs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sq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cs typeface="Arial" panose="020B0604020202020204" pitchFamily="34" charset="0"/>
          </a:defRPr>
        </a:defPPr>
      </a:lstStyle>
    </a:lnDef>
  </a:objectDefaults>
  <a:extraClrSchemeLst>
    <a:extraClrScheme>
      <a:clrScheme name="Presentation4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4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4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4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4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4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4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4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4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4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4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4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4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8_Presentation4">
  <a:themeElements>
    <a:clrScheme name="Presentation4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Presentation4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sq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cs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sq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cs typeface="Arial" panose="020B0604020202020204" pitchFamily="34" charset="0"/>
          </a:defRPr>
        </a:defPPr>
      </a:lstStyle>
    </a:lnDef>
  </a:objectDefaults>
  <a:extraClrSchemeLst>
    <a:extraClrScheme>
      <a:clrScheme name="Presentation4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4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4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4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4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4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4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4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4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4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4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4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4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4_Presentation4">
  <a:themeElements>
    <a:clrScheme name="Presentation4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Presentation4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sq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cs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sq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cs typeface="Arial" panose="020B0604020202020204" pitchFamily="34" charset="0"/>
          </a:defRPr>
        </a:defPPr>
      </a:lstStyle>
    </a:lnDef>
  </a:objectDefaults>
  <a:extraClrSchemeLst>
    <a:extraClrScheme>
      <a:clrScheme name="Presentation4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4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4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4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4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4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4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4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4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4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4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4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4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5_Presentation4">
  <a:themeElements>
    <a:clrScheme name="Presentation4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Presentation4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sq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cs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sq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cs typeface="Arial" panose="020B0604020202020204" pitchFamily="34" charset="0"/>
          </a:defRPr>
        </a:defPPr>
      </a:lstStyle>
    </a:lnDef>
  </a:objectDefaults>
  <a:extraClrSchemeLst>
    <a:extraClrScheme>
      <a:clrScheme name="Presentation4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4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4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4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4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4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4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4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4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4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4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4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4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BCG Grid 16:9">
  <a:themeElements>
    <a:clrScheme name="WASC">
      <a:dk1>
        <a:srgbClr val="262626"/>
      </a:dk1>
      <a:lt1>
        <a:sysClr val="window" lastClr="FFFFFF"/>
      </a:lt1>
      <a:dk2>
        <a:srgbClr val="EF4F50"/>
      </a:dk2>
      <a:lt2>
        <a:srgbClr val="F2F2F2"/>
      </a:lt2>
      <a:accent1>
        <a:srgbClr val="9A0E0E"/>
      </a:accent1>
      <a:accent2>
        <a:srgbClr val="C41212"/>
      </a:accent2>
      <a:accent3>
        <a:srgbClr val="FFA819"/>
      </a:accent3>
      <a:accent4>
        <a:srgbClr val="F7A7A7"/>
      </a:accent4>
      <a:accent5>
        <a:srgbClr val="808080"/>
      </a:accent5>
      <a:accent6>
        <a:srgbClr val="B41D8C"/>
      </a:accent6>
      <a:hlink>
        <a:srgbClr val="1389FF"/>
      </a:hlink>
      <a:folHlink>
        <a:srgbClr val="001D3B"/>
      </a:folHlink>
    </a:clrScheme>
    <a:fontScheme name="Trebuchet MS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EF4F50"/>
        </a:solidFill>
        <a:ln w="9525" cap="rnd" cmpd="sng" algn="ctr">
          <a:noFill/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262626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7.xml><?xml version="1.0" encoding="utf-8"?>
<a:theme xmlns:a="http://schemas.openxmlformats.org/drawingml/2006/main" name="2_BCG Grid 16:9">
  <a:themeElements>
    <a:clrScheme name="WASC">
      <a:dk1>
        <a:srgbClr val="262626"/>
      </a:dk1>
      <a:lt1>
        <a:sysClr val="window" lastClr="FFFFFF"/>
      </a:lt1>
      <a:dk2>
        <a:srgbClr val="EF4F50"/>
      </a:dk2>
      <a:lt2>
        <a:srgbClr val="F2F2F2"/>
      </a:lt2>
      <a:accent1>
        <a:srgbClr val="9A0E0E"/>
      </a:accent1>
      <a:accent2>
        <a:srgbClr val="C41212"/>
      </a:accent2>
      <a:accent3>
        <a:srgbClr val="FFA819"/>
      </a:accent3>
      <a:accent4>
        <a:srgbClr val="F7A7A7"/>
      </a:accent4>
      <a:accent5>
        <a:srgbClr val="808080"/>
      </a:accent5>
      <a:accent6>
        <a:srgbClr val="B41D8C"/>
      </a:accent6>
      <a:hlink>
        <a:srgbClr val="1389FF"/>
      </a:hlink>
      <a:folHlink>
        <a:srgbClr val="001D3B"/>
      </a:folHlink>
    </a:clrScheme>
    <a:fontScheme name="Trebuchet MS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EF4F50"/>
        </a:solidFill>
        <a:ln w="9525" cap="rnd" cmpd="sng" algn="ctr">
          <a:noFill/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262626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8.xml><?xml version="1.0" encoding="utf-8"?>
<a:theme xmlns:a="http://schemas.openxmlformats.org/drawingml/2006/main" name="5_BCG Grid 16:9">
  <a:themeElements>
    <a:clrScheme name="WASC">
      <a:dk1>
        <a:srgbClr val="262626"/>
      </a:dk1>
      <a:lt1>
        <a:sysClr val="window" lastClr="FFFFFF"/>
      </a:lt1>
      <a:dk2>
        <a:srgbClr val="EF4F50"/>
      </a:dk2>
      <a:lt2>
        <a:srgbClr val="F2F2F2"/>
      </a:lt2>
      <a:accent1>
        <a:srgbClr val="9A0E0E"/>
      </a:accent1>
      <a:accent2>
        <a:srgbClr val="C41212"/>
      </a:accent2>
      <a:accent3>
        <a:srgbClr val="FFA819"/>
      </a:accent3>
      <a:accent4>
        <a:srgbClr val="F7A7A7"/>
      </a:accent4>
      <a:accent5>
        <a:srgbClr val="808080"/>
      </a:accent5>
      <a:accent6>
        <a:srgbClr val="B41D8C"/>
      </a:accent6>
      <a:hlink>
        <a:srgbClr val="1389FF"/>
      </a:hlink>
      <a:folHlink>
        <a:srgbClr val="001D3B"/>
      </a:folHlink>
    </a:clrScheme>
    <a:fontScheme name="Trebuchet MS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EF4F50"/>
        </a:solidFill>
        <a:ln w="9525" cap="rnd" cmpd="sng" algn="ctr">
          <a:noFill/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262626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9.xml><?xml version="1.0" encoding="utf-8"?>
<a:theme xmlns:a="http://schemas.openxmlformats.org/drawingml/2006/main" name="BCG Grid 16:9">
  <a:themeElements>
    <a:clrScheme name="WASC">
      <a:dk1>
        <a:srgbClr val="262626"/>
      </a:dk1>
      <a:lt1>
        <a:sysClr val="window" lastClr="FFFFFF"/>
      </a:lt1>
      <a:dk2>
        <a:srgbClr val="EF4F50"/>
      </a:dk2>
      <a:lt2>
        <a:srgbClr val="F2F2F2"/>
      </a:lt2>
      <a:accent1>
        <a:srgbClr val="9A0E0E"/>
      </a:accent1>
      <a:accent2>
        <a:srgbClr val="C41212"/>
      </a:accent2>
      <a:accent3>
        <a:srgbClr val="FFA819"/>
      </a:accent3>
      <a:accent4>
        <a:srgbClr val="F7A7A7"/>
      </a:accent4>
      <a:accent5>
        <a:srgbClr val="808080"/>
      </a:accent5>
      <a:accent6>
        <a:srgbClr val="B41D8C"/>
      </a:accent6>
      <a:hlink>
        <a:srgbClr val="1389FF"/>
      </a:hlink>
      <a:folHlink>
        <a:srgbClr val="001D3B"/>
      </a:folHlink>
    </a:clrScheme>
    <a:fontScheme name="Trebuchet MS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EF4F50"/>
        </a:solidFill>
        <a:ln w="9525" cap="rnd" cmpd="sng" algn="ctr">
          <a:noFill/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262626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68950</TotalTime>
  <Words>726</Words>
  <Application>Microsoft Office PowerPoint</Application>
  <PresentationFormat>Widescreen</PresentationFormat>
  <Paragraphs>189</Paragraphs>
  <Slides>1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32" baseType="lpstr">
      <vt:lpstr>ADLaM Display</vt:lpstr>
      <vt:lpstr>Aharoni</vt:lpstr>
      <vt:lpstr>Arial</vt:lpstr>
      <vt:lpstr>Calibri</vt:lpstr>
      <vt:lpstr>Calibri Light</vt:lpstr>
      <vt:lpstr>Dubai</vt:lpstr>
      <vt:lpstr>Trebuchet MS</vt:lpstr>
      <vt:lpstr>Wingdings</vt:lpstr>
      <vt:lpstr>6_Presentation4</vt:lpstr>
      <vt:lpstr>7_Presentation4</vt:lpstr>
      <vt:lpstr>8_Presentation4</vt:lpstr>
      <vt:lpstr>4_Presentation4</vt:lpstr>
      <vt:lpstr>5_Presentation4</vt:lpstr>
      <vt:lpstr>BCG Grid 16:9</vt:lpstr>
      <vt:lpstr>2_BCG Grid 16:9</vt:lpstr>
      <vt:lpstr>5_BCG Grid 16:9</vt:lpstr>
      <vt:lpstr>BCG Grid 16:9</vt:lpstr>
      <vt:lpstr>10_Presentation4</vt:lpstr>
      <vt:lpstr>7_BCG Grid 16:9</vt:lpstr>
      <vt:lpstr>Office Theme</vt:lpstr>
      <vt:lpstr>think-cell Slide</vt:lpstr>
      <vt:lpstr>PowerPoint Presentation</vt:lpstr>
      <vt:lpstr>Outline</vt:lpstr>
      <vt:lpstr>CAA Course File (Annex 16)</vt:lpstr>
      <vt:lpstr>CAA Course File (Annex 16)</vt:lpstr>
      <vt:lpstr>E-Portfolio Directory Structure </vt:lpstr>
      <vt:lpstr>E-Portfolio Directory Structure </vt:lpstr>
      <vt:lpstr>Naming Convention</vt:lpstr>
      <vt:lpstr>Online Repository</vt:lpstr>
      <vt:lpstr>Online Repository</vt:lpstr>
      <vt:lpstr>Security and Privacy</vt:lpstr>
      <vt:lpstr> </vt:lpstr>
    </vt:vector>
  </TitlesOfParts>
  <Company>UIT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web team</dc:creator>
  <cp:lastModifiedBy>Walid Ibrahim</cp:lastModifiedBy>
  <cp:revision>5280</cp:revision>
  <cp:lastPrinted>2017-09-20T09:57:21Z</cp:lastPrinted>
  <dcterms:created xsi:type="dcterms:W3CDTF">2007-01-11T05:28:47Z</dcterms:created>
  <dcterms:modified xsi:type="dcterms:W3CDTF">2024-03-07T18:45:24Z</dcterms:modified>
</cp:coreProperties>
</file>